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1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media/image2.bin" ContentType="image/png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media/image3.bin" ContentType="image/png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notesSlides/notesSlide16.xml" ContentType="application/vnd.openxmlformats-officedocument.presentationml.notesSlide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notesSlides/notesSlide18.xml" ContentType="application/vnd.openxmlformats-officedocument.presentationml.notesSlide+xml"/>
  <Override PartName="/ppt/tags/tag42.xml" ContentType="application/vnd.openxmlformats-officedocument.presentationml.tags+xml"/>
  <Override PartName="/ppt/notesSlides/notesSlide19.xml" ContentType="application/vnd.openxmlformats-officedocument.presentationml.notesSlide+xml"/>
  <Override PartName="/ppt/tags/tag43.xml" ContentType="application/vnd.openxmlformats-officedocument.presentationml.tags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0"/>
  </p:notesMasterIdLst>
  <p:sldIdLst>
    <p:sldId id="498" r:id="rId3"/>
    <p:sldId id="471" r:id="rId4"/>
    <p:sldId id="481" r:id="rId5"/>
    <p:sldId id="534" r:id="rId6"/>
    <p:sldId id="473" r:id="rId7"/>
    <p:sldId id="489" r:id="rId8"/>
    <p:sldId id="499" r:id="rId9"/>
    <p:sldId id="503" r:id="rId10"/>
    <p:sldId id="474" r:id="rId11"/>
    <p:sldId id="507" r:id="rId12"/>
    <p:sldId id="508" r:id="rId13"/>
    <p:sldId id="515" r:id="rId14"/>
    <p:sldId id="514" r:id="rId15"/>
    <p:sldId id="475" r:id="rId16"/>
    <p:sldId id="506" r:id="rId17"/>
    <p:sldId id="476" r:id="rId18"/>
    <p:sldId id="511" r:id="rId19"/>
    <p:sldId id="510" r:id="rId20"/>
    <p:sldId id="530" r:id="rId21"/>
    <p:sldId id="532" r:id="rId22"/>
    <p:sldId id="518" r:id="rId23"/>
    <p:sldId id="520" r:id="rId24"/>
    <p:sldId id="523" r:id="rId25"/>
    <p:sldId id="524" r:id="rId26"/>
    <p:sldId id="526" r:id="rId27"/>
    <p:sldId id="529" r:id="rId28"/>
    <p:sldId id="512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3187D70-DCCE-4843-988D-9D60038F6D55}">
          <p14:sldIdLst>
            <p14:sldId id="498"/>
            <p14:sldId id="471"/>
            <p14:sldId id="481"/>
            <p14:sldId id="534"/>
            <p14:sldId id="473"/>
            <p14:sldId id="489"/>
            <p14:sldId id="499"/>
            <p14:sldId id="503"/>
            <p14:sldId id="474"/>
            <p14:sldId id="507"/>
            <p14:sldId id="508"/>
            <p14:sldId id="515"/>
            <p14:sldId id="514"/>
            <p14:sldId id="475"/>
            <p14:sldId id="506"/>
            <p14:sldId id="476"/>
            <p14:sldId id="511"/>
            <p14:sldId id="510"/>
            <p14:sldId id="530"/>
            <p14:sldId id="532"/>
            <p14:sldId id="518"/>
            <p14:sldId id="520"/>
            <p14:sldId id="523"/>
            <p14:sldId id="524"/>
            <p14:sldId id="526"/>
            <p14:sldId id="529"/>
            <p14:sldId id="51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F37B"/>
    <a:srgbClr val="046A38"/>
    <a:srgbClr val="00ABAB"/>
    <a:srgbClr val="FFFFFF"/>
    <a:srgbClr val="F04D0A"/>
    <a:srgbClr val="E58912"/>
    <a:srgbClr val="EB6A0E"/>
    <a:srgbClr val="F82705"/>
    <a:srgbClr val="E94605"/>
    <a:srgbClr val="E1CA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1CE135-2A9A-4930-9E42-58996822767B}" v="2" dt="2024-01-14T15:45:20.5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11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26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z Muszarsky" userId="baa567244c442e54" providerId="LiveId" clId="{121CE135-2A9A-4930-9E42-58996822767B}"/>
    <pc:docChg chg="undo custSel modSld">
      <pc:chgData name="Franz Muszarsky" userId="baa567244c442e54" providerId="LiveId" clId="{121CE135-2A9A-4930-9E42-58996822767B}" dt="2024-01-14T18:50:32.019" v="292" actId="1076"/>
      <pc:docMkLst>
        <pc:docMk/>
      </pc:docMkLst>
      <pc:sldChg chg="addSp delSp modSp mod">
        <pc:chgData name="Franz Muszarsky" userId="baa567244c442e54" providerId="LiveId" clId="{121CE135-2A9A-4930-9E42-58996822767B}" dt="2024-01-14T18:50:32.019" v="292" actId="1076"/>
        <pc:sldMkLst>
          <pc:docMk/>
          <pc:sldMk cId="2972820616" sldId="510"/>
        </pc:sldMkLst>
        <pc:spChg chg="mod">
          <ac:chgData name="Franz Muszarsky" userId="baa567244c442e54" providerId="LiveId" clId="{121CE135-2A9A-4930-9E42-58996822767B}" dt="2024-01-14T18:50:28.070" v="291" actId="1076"/>
          <ac:spMkLst>
            <pc:docMk/>
            <pc:sldMk cId="2972820616" sldId="510"/>
            <ac:spMk id="22" creationId="{918342BD-5E2C-01CA-60B7-8B4D9DDC0883}"/>
          </ac:spMkLst>
        </pc:spChg>
        <pc:spChg chg="mod">
          <ac:chgData name="Franz Muszarsky" userId="baa567244c442e54" providerId="LiveId" clId="{121CE135-2A9A-4930-9E42-58996822767B}" dt="2024-01-14T18:50:32.019" v="292" actId="1076"/>
          <ac:spMkLst>
            <pc:docMk/>
            <pc:sldMk cId="2972820616" sldId="510"/>
            <ac:spMk id="23" creationId="{102BE184-A4DB-F3CC-D338-155B20FE7FD2}"/>
          </ac:spMkLst>
        </pc:spChg>
        <pc:picChg chg="add mod">
          <ac:chgData name="Franz Muszarsky" userId="baa567244c442e54" providerId="LiveId" clId="{121CE135-2A9A-4930-9E42-58996822767B}" dt="2024-01-14T18:50:17.819" v="290" actId="1038"/>
          <ac:picMkLst>
            <pc:docMk/>
            <pc:sldMk cId="2972820616" sldId="510"/>
            <ac:picMk id="3" creationId="{9652DF65-5688-7D71-70DA-EBDC8EBC816D}"/>
          </ac:picMkLst>
        </pc:picChg>
        <pc:picChg chg="add mod">
          <ac:chgData name="Franz Muszarsky" userId="baa567244c442e54" providerId="LiveId" clId="{121CE135-2A9A-4930-9E42-58996822767B}" dt="2024-01-14T18:50:12.470" v="266" actId="1038"/>
          <ac:picMkLst>
            <pc:docMk/>
            <pc:sldMk cId="2972820616" sldId="510"/>
            <ac:picMk id="5" creationId="{1DCD2397-851B-356C-74BF-2FD79E572D45}"/>
          </ac:picMkLst>
        </pc:picChg>
        <pc:picChg chg="del">
          <ac:chgData name="Franz Muszarsky" userId="baa567244c442e54" providerId="LiveId" clId="{121CE135-2A9A-4930-9E42-58996822767B}" dt="2024-01-14T18:49:02.932" v="219" actId="478"/>
          <ac:picMkLst>
            <pc:docMk/>
            <pc:sldMk cId="2972820616" sldId="510"/>
            <ac:picMk id="46" creationId="{285C8617-B593-B0AF-FB74-C1DCE977DD89}"/>
          </ac:picMkLst>
        </pc:picChg>
        <pc:picChg chg="del">
          <ac:chgData name="Franz Muszarsky" userId="baa567244c442e54" providerId="LiveId" clId="{121CE135-2A9A-4930-9E42-58996822767B}" dt="2024-01-14T18:49:04.469" v="220" actId="478"/>
          <ac:picMkLst>
            <pc:docMk/>
            <pc:sldMk cId="2972820616" sldId="510"/>
            <ac:picMk id="48" creationId="{978B9A25-9188-7445-09AD-A17420A4F136}"/>
          </ac:picMkLst>
        </pc:picChg>
        <pc:picChg chg="del">
          <ac:chgData name="Franz Muszarsky" userId="baa567244c442e54" providerId="LiveId" clId="{121CE135-2A9A-4930-9E42-58996822767B}" dt="2024-01-14T18:48:58.690" v="216" actId="478"/>
          <ac:picMkLst>
            <pc:docMk/>
            <pc:sldMk cId="2972820616" sldId="510"/>
            <ac:picMk id="50" creationId="{8B1B91C5-16AF-6CB4-6FB5-17C8498BB283}"/>
          </ac:picMkLst>
        </pc:picChg>
        <pc:picChg chg="del">
          <ac:chgData name="Franz Muszarsky" userId="baa567244c442e54" providerId="LiveId" clId="{121CE135-2A9A-4930-9E42-58996822767B}" dt="2024-01-14T18:49:00.217" v="217" actId="478"/>
          <ac:picMkLst>
            <pc:docMk/>
            <pc:sldMk cId="2972820616" sldId="510"/>
            <ac:picMk id="52" creationId="{7DC2957D-FC66-AE87-A96E-337BE1150B89}"/>
          </ac:picMkLst>
        </pc:picChg>
      </pc:sldChg>
      <pc:sldChg chg="addSp delSp modSp mod">
        <pc:chgData name="Franz Muszarsky" userId="baa567244c442e54" providerId="LiveId" clId="{121CE135-2A9A-4930-9E42-58996822767B}" dt="2024-01-14T15:40:19.692" v="107" actId="1035"/>
        <pc:sldMkLst>
          <pc:docMk/>
          <pc:sldMk cId="103896984" sldId="511"/>
        </pc:sldMkLst>
        <pc:spChg chg="del">
          <ac:chgData name="Franz Muszarsky" userId="baa567244c442e54" providerId="LiveId" clId="{121CE135-2A9A-4930-9E42-58996822767B}" dt="2024-01-14T15:39:35.158" v="74" actId="478"/>
          <ac:spMkLst>
            <pc:docMk/>
            <pc:sldMk cId="103896984" sldId="511"/>
            <ac:spMk id="81" creationId="{6211F645-C122-CC8B-3E3A-D995129D8B6D}"/>
          </ac:spMkLst>
        </pc:spChg>
        <pc:picChg chg="add mod">
          <ac:chgData name="Franz Muszarsky" userId="baa567244c442e54" providerId="LiveId" clId="{121CE135-2A9A-4930-9E42-58996822767B}" dt="2024-01-14T15:40:19.692" v="107" actId="1035"/>
          <ac:picMkLst>
            <pc:docMk/>
            <pc:sldMk cId="103896984" sldId="511"/>
            <ac:picMk id="3" creationId="{F91E0BA9-CF0C-9042-080F-AB774D64B198}"/>
          </ac:picMkLst>
        </pc:picChg>
        <pc:picChg chg="add mod ord">
          <ac:chgData name="Franz Muszarsky" userId="baa567244c442e54" providerId="LiveId" clId="{121CE135-2A9A-4930-9E42-58996822767B}" dt="2024-01-14T15:39:58.396" v="86" actId="14100"/>
          <ac:picMkLst>
            <pc:docMk/>
            <pc:sldMk cId="103896984" sldId="511"/>
            <ac:picMk id="5" creationId="{AB7BA8FD-F597-8D95-1D1E-7023809ABEC8}"/>
          </ac:picMkLst>
        </pc:picChg>
        <pc:picChg chg="del">
          <ac:chgData name="Franz Muszarsky" userId="baa567244c442e54" providerId="LiveId" clId="{121CE135-2A9A-4930-9E42-58996822767B}" dt="2024-01-14T15:37:53.330" v="0" actId="478"/>
          <ac:picMkLst>
            <pc:docMk/>
            <pc:sldMk cId="103896984" sldId="511"/>
            <ac:picMk id="31" creationId="{BA6AA1A0-AAFE-2DFF-17CA-F1670ACFB2FF}"/>
          </ac:picMkLst>
        </pc:picChg>
        <pc:picChg chg="del">
          <ac:chgData name="Franz Muszarsky" userId="baa567244c442e54" providerId="LiveId" clId="{121CE135-2A9A-4930-9E42-58996822767B}" dt="2024-01-14T15:38:09.926" v="5" actId="478"/>
          <ac:picMkLst>
            <pc:docMk/>
            <pc:sldMk cId="103896984" sldId="511"/>
            <ac:picMk id="34" creationId="{7992E46B-B1F7-B48E-43CA-CFE370DD1727}"/>
          </ac:picMkLst>
        </pc:picChg>
      </pc:sldChg>
      <pc:sldChg chg="modSp mod">
        <pc:chgData name="Franz Muszarsky" userId="baa567244c442e54" providerId="LiveId" clId="{121CE135-2A9A-4930-9E42-58996822767B}" dt="2024-01-14T15:45:33.795" v="215" actId="20577"/>
        <pc:sldMkLst>
          <pc:docMk/>
          <pc:sldMk cId="3782156351" sldId="520"/>
        </pc:sldMkLst>
        <pc:spChg chg="mod">
          <ac:chgData name="Franz Muszarsky" userId="baa567244c442e54" providerId="LiveId" clId="{121CE135-2A9A-4930-9E42-58996822767B}" dt="2024-01-14T15:45:33.795" v="215" actId="20577"/>
          <ac:spMkLst>
            <pc:docMk/>
            <pc:sldMk cId="3782156351" sldId="520"/>
            <ac:spMk id="102" creationId="{0402D234-43C3-4A81-A5DE-722E3E0DABF0}"/>
          </ac:spMkLst>
        </pc:spChg>
        <pc:graphicFrameChg chg="modGraphic">
          <ac:chgData name="Franz Muszarsky" userId="baa567244c442e54" providerId="LiveId" clId="{121CE135-2A9A-4930-9E42-58996822767B}" dt="2024-01-14T15:44:18.076" v="211" actId="20577"/>
          <ac:graphicFrameMkLst>
            <pc:docMk/>
            <pc:sldMk cId="3782156351" sldId="520"/>
            <ac:graphicFrameMk id="33" creationId="{F0960C92-D203-623C-433A-A44A11A358B2}"/>
          </ac:graphicFrameMkLst>
        </pc:graphicFrameChg>
      </pc:sldChg>
      <pc:sldChg chg="modSp">
        <pc:chgData name="Franz Muszarsky" userId="baa567244c442e54" providerId="LiveId" clId="{121CE135-2A9A-4930-9E42-58996822767B}" dt="2024-01-14T15:45:20.516" v="213" actId="20577"/>
        <pc:sldMkLst>
          <pc:docMk/>
          <pc:sldMk cId="1150965661" sldId="523"/>
        </pc:sldMkLst>
        <pc:spChg chg="mod">
          <ac:chgData name="Franz Muszarsky" userId="baa567244c442e54" providerId="LiveId" clId="{121CE135-2A9A-4930-9E42-58996822767B}" dt="2024-01-14T15:45:20.516" v="213" actId="20577"/>
          <ac:spMkLst>
            <pc:docMk/>
            <pc:sldMk cId="1150965661" sldId="523"/>
            <ac:spMk id="29" creationId="{9563B150-C396-D374-0A19-08880394CB83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1AD182-A6EC-4D44-BC17-2519D80664E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945879-8AD2-472F-9840-E68DD99192A1}">
      <dgm:prSet phldrT="[Text]" custT="1"/>
      <dgm:spPr>
        <a:noFill/>
      </dgm:spPr>
      <dgm:t>
        <a:bodyPr/>
        <a:lstStyle/>
        <a:p>
          <a:pPr>
            <a:buSzPct val="100000"/>
            <a:buFont typeface="Arial"/>
            <a:buChar char="•"/>
          </a:pPr>
          <a:r>
            <a:rPr lang="de-DE" sz="1800" dirty="0">
              <a:solidFill>
                <a:schemeClr val="tx1"/>
              </a:solidFill>
            </a:rPr>
            <a:t>Transport </a:t>
          </a:r>
          <a:r>
            <a:rPr lang="de-DE" sz="1800" dirty="0" err="1">
              <a:solidFill>
                <a:schemeClr val="tx1"/>
              </a:solidFill>
            </a:rPr>
            <a:t>entir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osition</a:t>
          </a:r>
          <a:endParaRPr lang="de-DE" sz="1800" dirty="0">
            <a:solidFill>
              <a:schemeClr val="tx1"/>
            </a:solidFill>
          </a:endParaRPr>
        </a:p>
      </dgm:t>
    </dgm:pt>
    <dgm:pt modelId="{49FF4A1D-A73E-4F35-B566-44A782E27A43}" type="parTrans" cxnId="{00F98DFC-783F-40A5-915F-6EE3EC0C52D3}">
      <dgm:prSet/>
      <dgm:spPr/>
      <dgm:t>
        <a:bodyPr/>
        <a:lstStyle/>
        <a:p>
          <a:endParaRPr lang="de-DE"/>
        </a:p>
      </dgm:t>
    </dgm:pt>
    <dgm:pt modelId="{0D411981-CEA5-475B-BB3F-69416677B132}" type="sibTrans" cxnId="{00F98DFC-783F-40A5-915F-6EE3EC0C52D3}">
      <dgm:prSet/>
      <dgm:spPr/>
      <dgm:t>
        <a:bodyPr/>
        <a:lstStyle/>
        <a:p>
          <a:endParaRPr lang="de-DE"/>
        </a:p>
      </dgm:t>
    </dgm:pt>
    <dgm:pt modelId="{30D90061-E841-4746-BE97-26142A473E89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Move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</a:p>
      </dgm:t>
    </dgm:pt>
    <dgm:pt modelId="{3DA96048-D8D1-40F9-8AED-B72440D8A8F8}" type="parTrans" cxnId="{3147D20E-8F24-4D61-8BD3-BBDBFFD539F2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6D153117-E330-4F75-9F53-1018A6DA33A3}" type="sibTrans" cxnId="{3147D20E-8F24-4D61-8BD3-BBDBFFD539F2}">
      <dgm:prSet/>
      <dgm:spPr/>
      <dgm:t>
        <a:bodyPr/>
        <a:lstStyle/>
        <a:p>
          <a:endParaRPr lang="de-DE"/>
        </a:p>
      </dgm:t>
    </dgm:pt>
    <dgm:pt modelId="{C0CAE838-A696-4DDE-B2CE-66101AE8E7CE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 err="1">
              <a:solidFill>
                <a:schemeClr val="tx1"/>
              </a:solidFill>
            </a:rPr>
            <a:t>Don‘t</a:t>
          </a:r>
          <a:r>
            <a:rPr lang="de-DE" sz="1800" dirty="0">
              <a:solidFill>
                <a:schemeClr val="tx1"/>
              </a:solidFill>
            </a:rPr>
            <a:t> lose </a:t>
          </a:r>
          <a:r>
            <a:rPr lang="de-DE" sz="1800" dirty="0" err="1">
              <a:solidFill>
                <a:schemeClr val="tx1"/>
              </a:solidFill>
            </a:rPr>
            <a:t>any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th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rocess</a:t>
          </a:r>
          <a:endParaRPr lang="de-DE" sz="1800" dirty="0">
            <a:solidFill>
              <a:schemeClr val="tx1"/>
            </a:solidFill>
          </a:endParaRPr>
        </a:p>
      </dgm:t>
    </dgm:pt>
    <dgm:pt modelId="{5F1165BC-C189-42A6-9379-1D285D0AF91D}" type="parTrans" cxnId="{B71B29CC-F50B-4C33-AB81-58BF65440904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71CC699-64A3-4DF1-B82F-C6E99B52CF54}" type="sibTrans" cxnId="{B71B29CC-F50B-4C33-AB81-58BF65440904}">
      <dgm:prSet/>
      <dgm:spPr/>
      <dgm:t>
        <a:bodyPr/>
        <a:lstStyle/>
        <a:p>
          <a:endParaRPr lang="de-DE"/>
        </a:p>
      </dgm:t>
    </dgm:pt>
    <dgm:pt modelId="{578DBCF9-8F1D-4DDA-96F0-6DE554F5D0A6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Keep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and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alignmen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maintain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lin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of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sight</a:t>
          </a:r>
          <a:endParaRPr lang="de-DE" sz="1800" dirty="0">
            <a:solidFill>
              <a:schemeClr val="tx1"/>
            </a:solidFill>
          </a:endParaRPr>
        </a:p>
      </dgm:t>
    </dgm:pt>
    <dgm:pt modelId="{B34061C5-C9A2-457C-9DD5-6FA03A06D62D}" type="parTrans" cxnId="{5D038E2B-CDDE-445D-BFDD-4CAEA3B81B76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C0B2448-4157-430E-9463-9FD5A0F19EC1}" type="sibTrans" cxnId="{5D038E2B-CDDE-445D-BFDD-4CAEA3B81B76}">
      <dgm:prSet/>
      <dgm:spPr/>
      <dgm:t>
        <a:bodyPr/>
        <a:lstStyle/>
        <a:p>
          <a:endParaRPr lang="de-DE"/>
        </a:p>
      </dgm:t>
    </dgm:pt>
    <dgm:pt modelId="{D8604D25-CDAC-467D-B244-2C43AECF06C8}" type="pres">
      <dgm:prSet presAssocID="{E21AD182-A6EC-4D44-BC17-2519D80664E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9F39E2B-5F17-4583-944A-3B05C87A24CB}" type="pres">
      <dgm:prSet presAssocID="{2C945879-8AD2-472F-9840-E68DD99192A1}" presName="hierRoot1" presStyleCnt="0">
        <dgm:presLayoutVars>
          <dgm:hierBranch val="init"/>
        </dgm:presLayoutVars>
      </dgm:prSet>
      <dgm:spPr/>
    </dgm:pt>
    <dgm:pt modelId="{1CFBDFCE-CEC4-4185-B1F1-D7C79C567F8F}" type="pres">
      <dgm:prSet presAssocID="{2C945879-8AD2-472F-9840-E68DD99192A1}" presName="rootComposite1" presStyleCnt="0"/>
      <dgm:spPr/>
    </dgm:pt>
    <dgm:pt modelId="{FD4C710B-AAD3-4FDE-9DB7-116B9D1C0776}" type="pres">
      <dgm:prSet presAssocID="{2C945879-8AD2-472F-9840-E68DD99192A1}" presName="rootText1" presStyleLbl="node0" presStyleIdx="0" presStyleCnt="1" custScaleY="71791" custLinFactNeighborY="-41990">
        <dgm:presLayoutVars>
          <dgm:chPref val="3"/>
        </dgm:presLayoutVars>
      </dgm:prSet>
      <dgm:spPr/>
    </dgm:pt>
    <dgm:pt modelId="{8505635A-4C5A-48C8-9EB8-D408F4450400}" type="pres">
      <dgm:prSet presAssocID="{2C945879-8AD2-472F-9840-E68DD99192A1}" presName="rootConnector1" presStyleLbl="node1" presStyleIdx="0" presStyleCnt="0"/>
      <dgm:spPr/>
    </dgm:pt>
    <dgm:pt modelId="{F0754389-6614-47AD-9338-FD90A29C897D}" type="pres">
      <dgm:prSet presAssocID="{2C945879-8AD2-472F-9840-E68DD99192A1}" presName="hierChild2" presStyleCnt="0"/>
      <dgm:spPr/>
    </dgm:pt>
    <dgm:pt modelId="{C96E89EB-24BE-4D1D-8441-A7A363D9D05C}" type="pres">
      <dgm:prSet presAssocID="{3DA96048-D8D1-40F9-8AED-B72440D8A8F8}" presName="Name37" presStyleLbl="parChTrans1D2" presStyleIdx="0" presStyleCnt="3"/>
      <dgm:spPr/>
    </dgm:pt>
    <dgm:pt modelId="{9C9B919D-3F8C-4A6E-AF74-940A578F3D6F}" type="pres">
      <dgm:prSet presAssocID="{30D90061-E841-4746-BE97-26142A473E89}" presName="hierRoot2" presStyleCnt="0">
        <dgm:presLayoutVars>
          <dgm:hierBranch val="init"/>
        </dgm:presLayoutVars>
      </dgm:prSet>
      <dgm:spPr/>
    </dgm:pt>
    <dgm:pt modelId="{D8C0D81B-4F0A-485F-858A-FDDBA51F05FF}" type="pres">
      <dgm:prSet presAssocID="{30D90061-E841-4746-BE97-26142A473E89}" presName="rootComposite" presStyleCnt="0"/>
      <dgm:spPr/>
    </dgm:pt>
    <dgm:pt modelId="{27A1F63E-023D-44DA-8371-BC00D7566CA4}" type="pres">
      <dgm:prSet presAssocID="{30D90061-E841-4746-BE97-26142A473E89}" presName="rootText" presStyleLbl="node2" presStyleIdx="0" presStyleCnt="3">
        <dgm:presLayoutVars>
          <dgm:chPref val="3"/>
        </dgm:presLayoutVars>
      </dgm:prSet>
      <dgm:spPr/>
    </dgm:pt>
    <dgm:pt modelId="{EA1BF1D8-01BA-4ACC-A610-7DEBCC60783E}" type="pres">
      <dgm:prSet presAssocID="{30D90061-E841-4746-BE97-26142A473E89}" presName="rootConnector" presStyleLbl="node2" presStyleIdx="0" presStyleCnt="3"/>
      <dgm:spPr/>
    </dgm:pt>
    <dgm:pt modelId="{2C67436C-6CB3-41D9-A670-DF14BE952D65}" type="pres">
      <dgm:prSet presAssocID="{30D90061-E841-4746-BE97-26142A473E89}" presName="hierChild4" presStyleCnt="0"/>
      <dgm:spPr/>
    </dgm:pt>
    <dgm:pt modelId="{5725FA93-177E-4536-86C8-F4F16AC31A6B}" type="pres">
      <dgm:prSet presAssocID="{30D90061-E841-4746-BE97-26142A473E89}" presName="hierChild5" presStyleCnt="0"/>
      <dgm:spPr/>
    </dgm:pt>
    <dgm:pt modelId="{260AF645-DB45-4CC8-9E97-FBC8ECF32B5D}" type="pres">
      <dgm:prSet presAssocID="{5F1165BC-C189-42A6-9379-1D285D0AF91D}" presName="Name37" presStyleLbl="parChTrans1D2" presStyleIdx="1" presStyleCnt="3"/>
      <dgm:spPr/>
    </dgm:pt>
    <dgm:pt modelId="{9B78538E-39D4-4773-A28E-DCC51F80DD2A}" type="pres">
      <dgm:prSet presAssocID="{C0CAE838-A696-4DDE-B2CE-66101AE8E7CE}" presName="hierRoot2" presStyleCnt="0">
        <dgm:presLayoutVars>
          <dgm:hierBranch val="init"/>
        </dgm:presLayoutVars>
      </dgm:prSet>
      <dgm:spPr/>
    </dgm:pt>
    <dgm:pt modelId="{0C7D22B4-4EE9-48DD-A30A-CB43F2F53E02}" type="pres">
      <dgm:prSet presAssocID="{C0CAE838-A696-4DDE-B2CE-66101AE8E7CE}" presName="rootComposite" presStyleCnt="0"/>
      <dgm:spPr/>
    </dgm:pt>
    <dgm:pt modelId="{7F886F2F-B8AD-4EFE-8619-8AEE2B3C7225}" type="pres">
      <dgm:prSet presAssocID="{C0CAE838-A696-4DDE-B2CE-66101AE8E7CE}" presName="rootText" presStyleLbl="node2" presStyleIdx="1" presStyleCnt="3">
        <dgm:presLayoutVars>
          <dgm:chPref val="3"/>
        </dgm:presLayoutVars>
      </dgm:prSet>
      <dgm:spPr/>
    </dgm:pt>
    <dgm:pt modelId="{CA59E733-8A9F-457B-803E-DEAF2B4F7EBD}" type="pres">
      <dgm:prSet presAssocID="{C0CAE838-A696-4DDE-B2CE-66101AE8E7CE}" presName="rootConnector" presStyleLbl="node2" presStyleIdx="1" presStyleCnt="3"/>
      <dgm:spPr/>
    </dgm:pt>
    <dgm:pt modelId="{6BAE4FCB-75F6-494F-903E-454AD18A4521}" type="pres">
      <dgm:prSet presAssocID="{C0CAE838-A696-4DDE-B2CE-66101AE8E7CE}" presName="hierChild4" presStyleCnt="0"/>
      <dgm:spPr/>
    </dgm:pt>
    <dgm:pt modelId="{CEB4F6AF-9927-4040-ACC5-4EB175431EDD}" type="pres">
      <dgm:prSet presAssocID="{C0CAE838-A696-4DDE-B2CE-66101AE8E7CE}" presName="hierChild5" presStyleCnt="0"/>
      <dgm:spPr/>
    </dgm:pt>
    <dgm:pt modelId="{8C95F618-3F46-40FE-AB54-ABDC68814E1C}" type="pres">
      <dgm:prSet presAssocID="{B34061C5-C9A2-457C-9DD5-6FA03A06D62D}" presName="Name37" presStyleLbl="parChTrans1D2" presStyleIdx="2" presStyleCnt="3"/>
      <dgm:spPr/>
    </dgm:pt>
    <dgm:pt modelId="{153207D0-C637-4B6B-B668-B45A57C76094}" type="pres">
      <dgm:prSet presAssocID="{578DBCF9-8F1D-4DDA-96F0-6DE554F5D0A6}" presName="hierRoot2" presStyleCnt="0">
        <dgm:presLayoutVars>
          <dgm:hierBranch val="init"/>
        </dgm:presLayoutVars>
      </dgm:prSet>
      <dgm:spPr/>
    </dgm:pt>
    <dgm:pt modelId="{CB732701-EBC6-4C1B-A138-C9D40AC8580B}" type="pres">
      <dgm:prSet presAssocID="{578DBCF9-8F1D-4DDA-96F0-6DE554F5D0A6}" presName="rootComposite" presStyleCnt="0"/>
      <dgm:spPr/>
    </dgm:pt>
    <dgm:pt modelId="{2D412D9C-3583-4EFB-A80C-9B846AC10124}" type="pres">
      <dgm:prSet presAssocID="{578DBCF9-8F1D-4DDA-96F0-6DE554F5D0A6}" presName="rootText" presStyleLbl="node2" presStyleIdx="2" presStyleCnt="3">
        <dgm:presLayoutVars>
          <dgm:chPref val="3"/>
        </dgm:presLayoutVars>
      </dgm:prSet>
      <dgm:spPr/>
    </dgm:pt>
    <dgm:pt modelId="{1C992205-05BB-486D-B816-EFD39E4C93BC}" type="pres">
      <dgm:prSet presAssocID="{578DBCF9-8F1D-4DDA-96F0-6DE554F5D0A6}" presName="rootConnector" presStyleLbl="node2" presStyleIdx="2" presStyleCnt="3"/>
      <dgm:spPr/>
    </dgm:pt>
    <dgm:pt modelId="{92DCCE64-F885-458A-9AA7-043FAB7E02E5}" type="pres">
      <dgm:prSet presAssocID="{578DBCF9-8F1D-4DDA-96F0-6DE554F5D0A6}" presName="hierChild4" presStyleCnt="0"/>
      <dgm:spPr/>
    </dgm:pt>
    <dgm:pt modelId="{D9D3CE67-B5F0-46B6-B87E-F19FF0B552B9}" type="pres">
      <dgm:prSet presAssocID="{578DBCF9-8F1D-4DDA-96F0-6DE554F5D0A6}" presName="hierChild5" presStyleCnt="0"/>
      <dgm:spPr/>
    </dgm:pt>
    <dgm:pt modelId="{81DD0AFF-C255-4892-83EE-5BAEE20BFF24}" type="pres">
      <dgm:prSet presAssocID="{2C945879-8AD2-472F-9840-E68DD99192A1}" presName="hierChild3" presStyleCnt="0"/>
      <dgm:spPr/>
    </dgm:pt>
  </dgm:ptLst>
  <dgm:cxnLst>
    <dgm:cxn modelId="{3147D20E-8F24-4D61-8BD3-BBDBFFD539F2}" srcId="{2C945879-8AD2-472F-9840-E68DD99192A1}" destId="{30D90061-E841-4746-BE97-26142A473E89}" srcOrd="0" destOrd="0" parTransId="{3DA96048-D8D1-40F9-8AED-B72440D8A8F8}" sibTransId="{6D153117-E330-4F75-9F53-1018A6DA33A3}"/>
    <dgm:cxn modelId="{5D038E2B-CDDE-445D-BFDD-4CAEA3B81B76}" srcId="{2C945879-8AD2-472F-9840-E68DD99192A1}" destId="{578DBCF9-8F1D-4DDA-96F0-6DE554F5D0A6}" srcOrd="2" destOrd="0" parTransId="{B34061C5-C9A2-457C-9DD5-6FA03A06D62D}" sibTransId="{5C0B2448-4157-430E-9463-9FD5A0F19EC1}"/>
    <dgm:cxn modelId="{E9BB0D34-AA16-44FB-8007-0E7D28FBD482}" type="presOf" srcId="{B34061C5-C9A2-457C-9DD5-6FA03A06D62D}" destId="{8C95F618-3F46-40FE-AB54-ABDC68814E1C}" srcOrd="0" destOrd="0" presId="urn:microsoft.com/office/officeart/2005/8/layout/orgChart1"/>
    <dgm:cxn modelId="{BD1DD437-4249-4EB2-B75B-A3643EDFE289}" type="presOf" srcId="{30D90061-E841-4746-BE97-26142A473E89}" destId="{27A1F63E-023D-44DA-8371-BC00D7566CA4}" srcOrd="0" destOrd="0" presId="urn:microsoft.com/office/officeart/2005/8/layout/orgChart1"/>
    <dgm:cxn modelId="{E5200360-A852-4E9D-A8DD-12F4A67E4383}" type="presOf" srcId="{2C945879-8AD2-472F-9840-E68DD99192A1}" destId="{8505635A-4C5A-48C8-9EB8-D408F4450400}" srcOrd="1" destOrd="0" presId="urn:microsoft.com/office/officeart/2005/8/layout/orgChart1"/>
    <dgm:cxn modelId="{BD79DE41-5082-4D12-ACAC-A771E299A9C0}" type="presOf" srcId="{E21AD182-A6EC-4D44-BC17-2519D80664EF}" destId="{D8604D25-CDAC-467D-B244-2C43AECF06C8}" srcOrd="0" destOrd="0" presId="urn:microsoft.com/office/officeart/2005/8/layout/orgChart1"/>
    <dgm:cxn modelId="{64FC9991-BFF4-4EBF-A46D-37214DDD7F08}" type="presOf" srcId="{578DBCF9-8F1D-4DDA-96F0-6DE554F5D0A6}" destId="{2D412D9C-3583-4EFB-A80C-9B846AC10124}" srcOrd="0" destOrd="0" presId="urn:microsoft.com/office/officeart/2005/8/layout/orgChart1"/>
    <dgm:cxn modelId="{BE9B10AE-D6E9-4ACC-B2E6-45EC68A374F0}" type="presOf" srcId="{5F1165BC-C189-42A6-9379-1D285D0AF91D}" destId="{260AF645-DB45-4CC8-9E97-FBC8ECF32B5D}" srcOrd="0" destOrd="0" presId="urn:microsoft.com/office/officeart/2005/8/layout/orgChart1"/>
    <dgm:cxn modelId="{E350EEB3-656C-4A30-BD0E-6A21C9FDC007}" type="presOf" srcId="{C0CAE838-A696-4DDE-B2CE-66101AE8E7CE}" destId="{CA59E733-8A9F-457B-803E-DEAF2B4F7EBD}" srcOrd="1" destOrd="0" presId="urn:microsoft.com/office/officeart/2005/8/layout/orgChart1"/>
    <dgm:cxn modelId="{1B6184BD-0CD4-4204-83B4-7624BBD49658}" type="presOf" srcId="{3DA96048-D8D1-40F9-8AED-B72440D8A8F8}" destId="{C96E89EB-24BE-4D1D-8441-A7A363D9D05C}" srcOrd="0" destOrd="0" presId="urn:microsoft.com/office/officeart/2005/8/layout/orgChart1"/>
    <dgm:cxn modelId="{B71B29CC-F50B-4C33-AB81-58BF65440904}" srcId="{2C945879-8AD2-472F-9840-E68DD99192A1}" destId="{C0CAE838-A696-4DDE-B2CE-66101AE8E7CE}" srcOrd="1" destOrd="0" parTransId="{5F1165BC-C189-42A6-9379-1D285D0AF91D}" sibTransId="{571CC699-64A3-4DF1-B82F-C6E99B52CF54}"/>
    <dgm:cxn modelId="{5F2481D6-3D86-4D46-803F-5E4EFC2BE32A}" type="presOf" srcId="{578DBCF9-8F1D-4DDA-96F0-6DE554F5D0A6}" destId="{1C992205-05BB-486D-B816-EFD39E4C93BC}" srcOrd="1" destOrd="0" presId="urn:microsoft.com/office/officeart/2005/8/layout/orgChart1"/>
    <dgm:cxn modelId="{052C23ED-867E-4E6C-82B1-CE5954A086B5}" type="presOf" srcId="{30D90061-E841-4746-BE97-26142A473E89}" destId="{EA1BF1D8-01BA-4ACC-A610-7DEBCC60783E}" srcOrd="1" destOrd="0" presId="urn:microsoft.com/office/officeart/2005/8/layout/orgChart1"/>
    <dgm:cxn modelId="{30DE6AF0-557A-4122-9623-70FBD1908ADB}" type="presOf" srcId="{2C945879-8AD2-472F-9840-E68DD99192A1}" destId="{FD4C710B-AAD3-4FDE-9DB7-116B9D1C0776}" srcOrd="0" destOrd="0" presId="urn:microsoft.com/office/officeart/2005/8/layout/orgChart1"/>
    <dgm:cxn modelId="{00F98DFC-783F-40A5-915F-6EE3EC0C52D3}" srcId="{E21AD182-A6EC-4D44-BC17-2519D80664EF}" destId="{2C945879-8AD2-472F-9840-E68DD99192A1}" srcOrd="0" destOrd="0" parTransId="{49FF4A1D-A73E-4F35-B566-44A782E27A43}" sibTransId="{0D411981-CEA5-475B-BB3F-69416677B132}"/>
    <dgm:cxn modelId="{32318DFF-F55F-4FEB-9030-0B3D0D0B1CEF}" type="presOf" srcId="{C0CAE838-A696-4DDE-B2CE-66101AE8E7CE}" destId="{7F886F2F-B8AD-4EFE-8619-8AEE2B3C7225}" srcOrd="0" destOrd="0" presId="urn:microsoft.com/office/officeart/2005/8/layout/orgChart1"/>
    <dgm:cxn modelId="{63AE3AF1-4081-4CAC-82C9-2FCF083DC96B}" type="presParOf" srcId="{D8604D25-CDAC-467D-B244-2C43AECF06C8}" destId="{39F39E2B-5F17-4583-944A-3B05C87A24CB}" srcOrd="0" destOrd="0" presId="urn:microsoft.com/office/officeart/2005/8/layout/orgChart1"/>
    <dgm:cxn modelId="{0089E89C-7AD1-480E-B593-6893CB1464B6}" type="presParOf" srcId="{39F39E2B-5F17-4583-944A-3B05C87A24CB}" destId="{1CFBDFCE-CEC4-4185-B1F1-D7C79C567F8F}" srcOrd="0" destOrd="0" presId="urn:microsoft.com/office/officeart/2005/8/layout/orgChart1"/>
    <dgm:cxn modelId="{831A069E-99B3-475A-A2AB-EED646C39A92}" type="presParOf" srcId="{1CFBDFCE-CEC4-4185-B1F1-D7C79C567F8F}" destId="{FD4C710B-AAD3-4FDE-9DB7-116B9D1C0776}" srcOrd="0" destOrd="0" presId="urn:microsoft.com/office/officeart/2005/8/layout/orgChart1"/>
    <dgm:cxn modelId="{C9482331-EF9F-4200-9FAD-56C1A4D6FBD8}" type="presParOf" srcId="{1CFBDFCE-CEC4-4185-B1F1-D7C79C567F8F}" destId="{8505635A-4C5A-48C8-9EB8-D408F4450400}" srcOrd="1" destOrd="0" presId="urn:microsoft.com/office/officeart/2005/8/layout/orgChart1"/>
    <dgm:cxn modelId="{C1B7EDD3-559D-4734-B25B-18C97D7B2224}" type="presParOf" srcId="{39F39E2B-5F17-4583-944A-3B05C87A24CB}" destId="{F0754389-6614-47AD-9338-FD90A29C897D}" srcOrd="1" destOrd="0" presId="urn:microsoft.com/office/officeart/2005/8/layout/orgChart1"/>
    <dgm:cxn modelId="{E672E46A-6CAC-4C91-B210-0B39A9F3782A}" type="presParOf" srcId="{F0754389-6614-47AD-9338-FD90A29C897D}" destId="{C96E89EB-24BE-4D1D-8441-A7A363D9D05C}" srcOrd="0" destOrd="0" presId="urn:microsoft.com/office/officeart/2005/8/layout/orgChart1"/>
    <dgm:cxn modelId="{B7061FAF-DB86-4454-9168-A90EF5FB3D99}" type="presParOf" srcId="{F0754389-6614-47AD-9338-FD90A29C897D}" destId="{9C9B919D-3F8C-4A6E-AF74-940A578F3D6F}" srcOrd="1" destOrd="0" presId="urn:microsoft.com/office/officeart/2005/8/layout/orgChart1"/>
    <dgm:cxn modelId="{4EFE61D3-31CC-41FC-ABA7-060A606EBD5B}" type="presParOf" srcId="{9C9B919D-3F8C-4A6E-AF74-940A578F3D6F}" destId="{D8C0D81B-4F0A-485F-858A-FDDBA51F05FF}" srcOrd="0" destOrd="0" presId="urn:microsoft.com/office/officeart/2005/8/layout/orgChart1"/>
    <dgm:cxn modelId="{AFD390DC-E920-4B25-A259-F6EDCAB11785}" type="presParOf" srcId="{D8C0D81B-4F0A-485F-858A-FDDBA51F05FF}" destId="{27A1F63E-023D-44DA-8371-BC00D7566CA4}" srcOrd="0" destOrd="0" presId="urn:microsoft.com/office/officeart/2005/8/layout/orgChart1"/>
    <dgm:cxn modelId="{6DE6F07A-66AF-42B1-8404-CA2FE7CDAFA8}" type="presParOf" srcId="{D8C0D81B-4F0A-485F-858A-FDDBA51F05FF}" destId="{EA1BF1D8-01BA-4ACC-A610-7DEBCC60783E}" srcOrd="1" destOrd="0" presId="urn:microsoft.com/office/officeart/2005/8/layout/orgChart1"/>
    <dgm:cxn modelId="{3F3CB089-7C28-494C-8E5C-8368B8E5CA98}" type="presParOf" srcId="{9C9B919D-3F8C-4A6E-AF74-940A578F3D6F}" destId="{2C67436C-6CB3-41D9-A670-DF14BE952D65}" srcOrd="1" destOrd="0" presId="urn:microsoft.com/office/officeart/2005/8/layout/orgChart1"/>
    <dgm:cxn modelId="{D77C6B06-A215-4624-80F6-CE784F050F63}" type="presParOf" srcId="{9C9B919D-3F8C-4A6E-AF74-940A578F3D6F}" destId="{5725FA93-177E-4536-86C8-F4F16AC31A6B}" srcOrd="2" destOrd="0" presId="urn:microsoft.com/office/officeart/2005/8/layout/orgChart1"/>
    <dgm:cxn modelId="{93AB06F4-2B0E-4A62-BA31-EFA1A0AE9754}" type="presParOf" srcId="{F0754389-6614-47AD-9338-FD90A29C897D}" destId="{260AF645-DB45-4CC8-9E97-FBC8ECF32B5D}" srcOrd="2" destOrd="0" presId="urn:microsoft.com/office/officeart/2005/8/layout/orgChart1"/>
    <dgm:cxn modelId="{33792486-3892-4B48-A237-EA6C605FE2B7}" type="presParOf" srcId="{F0754389-6614-47AD-9338-FD90A29C897D}" destId="{9B78538E-39D4-4773-A28E-DCC51F80DD2A}" srcOrd="3" destOrd="0" presId="urn:microsoft.com/office/officeart/2005/8/layout/orgChart1"/>
    <dgm:cxn modelId="{DFD31623-9E2F-49CC-BFD3-A6F7CC4BBC3C}" type="presParOf" srcId="{9B78538E-39D4-4773-A28E-DCC51F80DD2A}" destId="{0C7D22B4-4EE9-48DD-A30A-CB43F2F53E02}" srcOrd="0" destOrd="0" presId="urn:microsoft.com/office/officeart/2005/8/layout/orgChart1"/>
    <dgm:cxn modelId="{90EB3850-C193-40AB-8CC7-ECA7E11CAEF9}" type="presParOf" srcId="{0C7D22B4-4EE9-48DD-A30A-CB43F2F53E02}" destId="{7F886F2F-B8AD-4EFE-8619-8AEE2B3C7225}" srcOrd="0" destOrd="0" presId="urn:microsoft.com/office/officeart/2005/8/layout/orgChart1"/>
    <dgm:cxn modelId="{D385BBEF-020A-4BF9-AACF-5E3B1736CD0A}" type="presParOf" srcId="{0C7D22B4-4EE9-48DD-A30A-CB43F2F53E02}" destId="{CA59E733-8A9F-457B-803E-DEAF2B4F7EBD}" srcOrd="1" destOrd="0" presId="urn:microsoft.com/office/officeart/2005/8/layout/orgChart1"/>
    <dgm:cxn modelId="{BCD23F7C-9489-4EC4-ACAA-4C847312F6F8}" type="presParOf" srcId="{9B78538E-39D4-4773-A28E-DCC51F80DD2A}" destId="{6BAE4FCB-75F6-494F-903E-454AD18A4521}" srcOrd="1" destOrd="0" presId="urn:microsoft.com/office/officeart/2005/8/layout/orgChart1"/>
    <dgm:cxn modelId="{7A73B544-1978-4DC0-AFC8-0BAEF2E0DF13}" type="presParOf" srcId="{9B78538E-39D4-4773-A28E-DCC51F80DD2A}" destId="{CEB4F6AF-9927-4040-ACC5-4EB175431EDD}" srcOrd="2" destOrd="0" presId="urn:microsoft.com/office/officeart/2005/8/layout/orgChart1"/>
    <dgm:cxn modelId="{03B58060-0FA6-44AD-887E-F5AE929AD89E}" type="presParOf" srcId="{F0754389-6614-47AD-9338-FD90A29C897D}" destId="{8C95F618-3F46-40FE-AB54-ABDC68814E1C}" srcOrd="4" destOrd="0" presId="urn:microsoft.com/office/officeart/2005/8/layout/orgChart1"/>
    <dgm:cxn modelId="{742D444E-E54C-417B-8492-813EF984BC12}" type="presParOf" srcId="{F0754389-6614-47AD-9338-FD90A29C897D}" destId="{153207D0-C637-4B6B-B668-B45A57C76094}" srcOrd="5" destOrd="0" presId="urn:microsoft.com/office/officeart/2005/8/layout/orgChart1"/>
    <dgm:cxn modelId="{003BF6F7-EBF0-442A-8276-A3AE6CD40A79}" type="presParOf" srcId="{153207D0-C637-4B6B-B668-B45A57C76094}" destId="{CB732701-EBC6-4C1B-A138-C9D40AC8580B}" srcOrd="0" destOrd="0" presId="urn:microsoft.com/office/officeart/2005/8/layout/orgChart1"/>
    <dgm:cxn modelId="{9BD02949-2CA8-4B47-A554-8CA84316B3C6}" type="presParOf" srcId="{CB732701-EBC6-4C1B-A138-C9D40AC8580B}" destId="{2D412D9C-3583-4EFB-A80C-9B846AC10124}" srcOrd="0" destOrd="0" presId="urn:microsoft.com/office/officeart/2005/8/layout/orgChart1"/>
    <dgm:cxn modelId="{32E0CDB6-1295-4BA8-BC20-6E8CA7D1FC68}" type="presParOf" srcId="{CB732701-EBC6-4C1B-A138-C9D40AC8580B}" destId="{1C992205-05BB-486D-B816-EFD39E4C93BC}" srcOrd="1" destOrd="0" presId="urn:microsoft.com/office/officeart/2005/8/layout/orgChart1"/>
    <dgm:cxn modelId="{A197BB65-8AF0-45DB-B397-6D19B098F3E4}" type="presParOf" srcId="{153207D0-C637-4B6B-B668-B45A57C76094}" destId="{92DCCE64-F885-458A-9AA7-043FAB7E02E5}" srcOrd="1" destOrd="0" presId="urn:microsoft.com/office/officeart/2005/8/layout/orgChart1"/>
    <dgm:cxn modelId="{6A188787-3182-4589-917C-3EF6F9C5D785}" type="presParOf" srcId="{153207D0-C637-4B6B-B668-B45A57C76094}" destId="{D9D3CE67-B5F0-46B6-B87E-F19FF0B552B9}" srcOrd="2" destOrd="0" presId="urn:microsoft.com/office/officeart/2005/8/layout/orgChart1"/>
    <dgm:cxn modelId="{DFDE18FC-6164-4A79-8B79-9FDF7C006A90}" type="presParOf" srcId="{39F39E2B-5F17-4583-944A-3B05C87A24CB}" destId="{81DD0AFF-C255-4892-83EE-5BAEE20BFF24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279901-A423-4DCE-81B3-15D313A73071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A15D8D5-C429-4D0C-8FFB-38B0E729BE42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Recreate</a:t>
          </a:r>
          <a:r>
            <a:rPr lang="de-DE" sz="1800" dirty="0"/>
            <a:t> Code in Python</a:t>
          </a:r>
        </a:p>
      </dgm:t>
    </dgm:pt>
    <dgm:pt modelId="{4D07A94A-C1C1-4721-A845-6653C7CDA16A}" type="parTrans" cxnId="{3C82DB6C-F80E-4EC3-9CFC-F6371C9D4D69}">
      <dgm:prSet/>
      <dgm:spPr/>
      <dgm:t>
        <a:bodyPr/>
        <a:lstStyle/>
        <a:p>
          <a:endParaRPr lang="de-DE"/>
        </a:p>
      </dgm:t>
    </dgm:pt>
    <dgm:pt modelId="{3D04D0E8-6258-4593-8D5D-A1894E86F829}" type="sibTrans" cxnId="{3C82DB6C-F80E-4EC3-9CFC-F6371C9D4D69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 err="1"/>
            <a:t>Understand</a:t>
          </a:r>
          <a:r>
            <a:rPr lang="de-DE" sz="1800" dirty="0"/>
            <a:t> </a:t>
          </a:r>
          <a:r>
            <a:rPr lang="de-DE" sz="1800" dirty="0" err="1"/>
            <a:t>Codebase</a:t>
          </a:r>
          <a:endParaRPr lang="de-DE" sz="1800" dirty="0"/>
        </a:p>
      </dgm:t>
    </dgm:pt>
    <dgm:pt modelId="{A541F1FE-9F12-46E5-850C-51CA31F642FE}">
      <dgm:prSet phldrT="[Text]"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Add </a:t>
          </a:r>
          <a:r>
            <a:rPr lang="de-DE" sz="1800" dirty="0" err="1"/>
            <a:t>extensions</a:t>
          </a:r>
          <a:endParaRPr lang="de-DE" sz="1800" dirty="0"/>
        </a:p>
      </dgm:t>
    </dgm:pt>
    <dgm:pt modelId="{EB97D544-9FCD-4FBD-BF57-04548BACBC80}" type="parTrans" cxnId="{8FCAC832-9563-4A8D-8298-42EA34574E02}">
      <dgm:prSet/>
      <dgm:spPr/>
      <dgm:t>
        <a:bodyPr/>
        <a:lstStyle/>
        <a:p>
          <a:endParaRPr lang="de-DE"/>
        </a:p>
      </dgm:t>
    </dgm:pt>
    <dgm:pt modelId="{9089C198-7259-44B1-A7D9-FCD3A7722689}" type="sibTrans" cxnId="{8FCAC832-9563-4A8D-8298-42EA34574E02}">
      <dgm:prSet custT="1"/>
      <dgm:spPr>
        <a:solidFill>
          <a:schemeClr val="bg2"/>
        </a:solidFill>
      </dgm:spPr>
      <dgm:t>
        <a:bodyPr/>
        <a:lstStyle/>
        <a:p>
          <a:r>
            <a:rPr lang="de-DE" sz="1800" dirty="0"/>
            <a:t>Find </a:t>
          </a:r>
          <a:r>
            <a:rPr lang="de-DE" sz="1800" dirty="0" err="1"/>
            <a:t>best</a:t>
          </a:r>
          <a:r>
            <a:rPr lang="de-DE" sz="1800" dirty="0"/>
            <a:t> </a:t>
          </a:r>
          <a:r>
            <a:rPr lang="de-DE" sz="1800" dirty="0" err="1"/>
            <a:t>parameters</a:t>
          </a:r>
          <a:endParaRPr lang="de-DE" sz="1800" dirty="0"/>
        </a:p>
      </dgm:t>
    </dgm:pt>
    <dgm:pt modelId="{71B50E39-B6A3-471A-9B09-1A3F205C7E22}" type="pres">
      <dgm:prSet presAssocID="{55279901-A423-4DCE-81B3-15D313A73071}" presName="Name0" presStyleCnt="0">
        <dgm:presLayoutVars>
          <dgm:chMax/>
          <dgm:chPref/>
          <dgm:dir/>
          <dgm:animLvl val="lvl"/>
        </dgm:presLayoutVars>
      </dgm:prSet>
      <dgm:spPr/>
    </dgm:pt>
    <dgm:pt modelId="{03AAD756-20DE-472F-B7D5-62C4EEAB72DF}" type="pres">
      <dgm:prSet presAssocID="{DA15D8D5-C429-4D0C-8FFB-38B0E729BE42}" presName="composite" presStyleCnt="0"/>
      <dgm:spPr/>
    </dgm:pt>
    <dgm:pt modelId="{8E94F6CF-3C6D-449A-839A-DC3F16E2EA2F}" type="pres">
      <dgm:prSet presAssocID="{DA15D8D5-C429-4D0C-8FFB-38B0E729BE42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48F91170-7DB7-4CBF-8BD9-0FF0747DBE74}" type="pres">
      <dgm:prSet presAssocID="{DA15D8D5-C429-4D0C-8FFB-38B0E729BE42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C8C98564-8661-467F-8BCD-3B419138B377}" type="pres">
      <dgm:prSet presAssocID="{DA15D8D5-C429-4D0C-8FFB-38B0E729BE42}" presName="BalanceSpacing" presStyleCnt="0"/>
      <dgm:spPr/>
    </dgm:pt>
    <dgm:pt modelId="{97B81D20-8DCD-40DC-935C-F325F44EAD1F}" type="pres">
      <dgm:prSet presAssocID="{DA15D8D5-C429-4D0C-8FFB-38B0E729BE42}" presName="BalanceSpacing1" presStyleCnt="0"/>
      <dgm:spPr/>
    </dgm:pt>
    <dgm:pt modelId="{AEBD023A-1EAB-4244-B92C-F52991F49330}" type="pres">
      <dgm:prSet presAssocID="{3D04D0E8-6258-4593-8D5D-A1894E86F829}" presName="Accent1Text" presStyleLbl="node1" presStyleIdx="1" presStyleCnt="4"/>
      <dgm:spPr/>
    </dgm:pt>
    <dgm:pt modelId="{0E039457-16A2-4606-8240-C2470909538D}" type="pres">
      <dgm:prSet presAssocID="{3D04D0E8-6258-4593-8D5D-A1894E86F829}" presName="spaceBetweenRectangles" presStyleCnt="0"/>
      <dgm:spPr/>
    </dgm:pt>
    <dgm:pt modelId="{C7EB9403-6F06-4FA5-BBB3-F6D6FC6BAC67}" type="pres">
      <dgm:prSet presAssocID="{A541F1FE-9F12-46E5-850C-51CA31F642FE}" presName="composite" presStyleCnt="0"/>
      <dgm:spPr/>
    </dgm:pt>
    <dgm:pt modelId="{9FF396AA-33F2-455B-9413-41F0F28B328C}" type="pres">
      <dgm:prSet presAssocID="{A541F1FE-9F12-46E5-850C-51CA31F642FE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62092414-EAB9-463A-8D9B-91A3A743CCEC}" type="pres">
      <dgm:prSet presAssocID="{A541F1FE-9F12-46E5-850C-51CA31F642FE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FEF26AA4-729E-46AB-AE37-2E2C4DAA1A4F}" type="pres">
      <dgm:prSet presAssocID="{A541F1FE-9F12-46E5-850C-51CA31F642FE}" presName="BalanceSpacing" presStyleCnt="0"/>
      <dgm:spPr/>
    </dgm:pt>
    <dgm:pt modelId="{87B22DBF-49A8-4214-ADE3-DB8660D75694}" type="pres">
      <dgm:prSet presAssocID="{A541F1FE-9F12-46E5-850C-51CA31F642FE}" presName="BalanceSpacing1" presStyleCnt="0"/>
      <dgm:spPr/>
    </dgm:pt>
    <dgm:pt modelId="{36E2313D-F53B-4EB3-9DC7-24EB9A4B7A8F}" type="pres">
      <dgm:prSet presAssocID="{9089C198-7259-44B1-A7D9-FCD3A7722689}" presName="Accent1Text" presStyleLbl="node1" presStyleIdx="3" presStyleCnt="4"/>
      <dgm:spPr/>
    </dgm:pt>
  </dgm:ptLst>
  <dgm:cxnLst>
    <dgm:cxn modelId="{6151131C-76E2-498B-B159-5F375DB1E8DB}" type="presOf" srcId="{3D04D0E8-6258-4593-8D5D-A1894E86F829}" destId="{AEBD023A-1EAB-4244-B92C-F52991F49330}" srcOrd="0" destOrd="0" presId="urn:microsoft.com/office/officeart/2008/layout/AlternatingHexagons"/>
    <dgm:cxn modelId="{8FCAC832-9563-4A8D-8298-42EA34574E02}" srcId="{55279901-A423-4DCE-81B3-15D313A73071}" destId="{A541F1FE-9F12-46E5-850C-51CA31F642FE}" srcOrd="1" destOrd="0" parTransId="{EB97D544-9FCD-4FBD-BF57-04548BACBC80}" sibTransId="{9089C198-7259-44B1-A7D9-FCD3A7722689}"/>
    <dgm:cxn modelId="{3FD71766-4767-4806-98B2-E371E17C4337}" type="presOf" srcId="{DA15D8D5-C429-4D0C-8FFB-38B0E729BE42}" destId="{8E94F6CF-3C6D-449A-839A-DC3F16E2EA2F}" srcOrd="0" destOrd="0" presId="urn:microsoft.com/office/officeart/2008/layout/AlternatingHexagons"/>
    <dgm:cxn modelId="{BB30C54A-3E5A-4302-A6B5-9DE41CCD52B6}" type="presOf" srcId="{9089C198-7259-44B1-A7D9-FCD3A7722689}" destId="{36E2313D-F53B-4EB3-9DC7-24EB9A4B7A8F}" srcOrd="0" destOrd="0" presId="urn:microsoft.com/office/officeart/2008/layout/AlternatingHexagons"/>
    <dgm:cxn modelId="{3C82DB6C-F80E-4EC3-9CFC-F6371C9D4D69}" srcId="{55279901-A423-4DCE-81B3-15D313A73071}" destId="{DA15D8D5-C429-4D0C-8FFB-38B0E729BE42}" srcOrd="0" destOrd="0" parTransId="{4D07A94A-C1C1-4721-A845-6653C7CDA16A}" sibTransId="{3D04D0E8-6258-4593-8D5D-A1894E86F829}"/>
    <dgm:cxn modelId="{F2BC0E5A-2A68-412E-9C06-173207A85479}" type="presOf" srcId="{A541F1FE-9F12-46E5-850C-51CA31F642FE}" destId="{9FF396AA-33F2-455B-9413-41F0F28B328C}" srcOrd="0" destOrd="0" presId="urn:microsoft.com/office/officeart/2008/layout/AlternatingHexagons"/>
    <dgm:cxn modelId="{877BF3C7-7C53-4E0E-9B8C-8073A1223DE5}" type="presOf" srcId="{55279901-A423-4DCE-81B3-15D313A73071}" destId="{71B50E39-B6A3-471A-9B09-1A3F205C7E22}" srcOrd="0" destOrd="0" presId="urn:microsoft.com/office/officeart/2008/layout/AlternatingHexagons"/>
    <dgm:cxn modelId="{C7B2BB8F-18B1-4B03-9FEB-281548FF6133}" type="presParOf" srcId="{71B50E39-B6A3-471A-9B09-1A3F205C7E22}" destId="{03AAD756-20DE-472F-B7D5-62C4EEAB72DF}" srcOrd="0" destOrd="0" presId="urn:microsoft.com/office/officeart/2008/layout/AlternatingHexagons"/>
    <dgm:cxn modelId="{576871A2-B57D-4A5E-8647-C819BB6404FC}" type="presParOf" srcId="{03AAD756-20DE-472F-B7D5-62C4EEAB72DF}" destId="{8E94F6CF-3C6D-449A-839A-DC3F16E2EA2F}" srcOrd="0" destOrd="0" presId="urn:microsoft.com/office/officeart/2008/layout/AlternatingHexagons"/>
    <dgm:cxn modelId="{E6B44993-06DD-469B-8A78-30F73550012D}" type="presParOf" srcId="{03AAD756-20DE-472F-B7D5-62C4EEAB72DF}" destId="{48F91170-7DB7-4CBF-8BD9-0FF0747DBE74}" srcOrd="1" destOrd="0" presId="urn:microsoft.com/office/officeart/2008/layout/AlternatingHexagons"/>
    <dgm:cxn modelId="{0C37C4F6-2AC7-43B0-96C9-4F7C50072988}" type="presParOf" srcId="{03AAD756-20DE-472F-B7D5-62C4EEAB72DF}" destId="{C8C98564-8661-467F-8BCD-3B419138B377}" srcOrd="2" destOrd="0" presId="urn:microsoft.com/office/officeart/2008/layout/AlternatingHexagons"/>
    <dgm:cxn modelId="{12D7B026-A15F-42CC-A2D0-0D16C1AEAB62}" type="presParOf" srcId="{03AAD756-20DE-472F-B7D5-62C4EEAB72DF}" destId="{97B81D20-8DCD-40DC-935C-F325F44EAD1F}" srcOrd="3" destOrd="0" presId="urn:microsoft.com/office/officeart/2008/layout/AlternatingHexagons"/>
    <dgm:cxn modelId="{74F02E94-2854-4611-9285-2E2DD61639FE}" type="presParOf" srcId="{03AAD756-20DE-472F-B7D5-62C4EEAB72DF}" destId="{AEBD023A-1EAB-4244-B92C-F52991F49330}" srcOrd="4" destOrd="0" presId="urn:microsoft.com/office/officeart/2008/layout/AlternatingHexagons"/>
    <dgm:cxn modelId="{28C16B3F-AB1D-4A1B-8E4B-430AB6F3E9D9}" type="presParOf" srcId="{71B50E39-B6A3-471A-9B09-1A3F205C7E22}" destId="{0E039457-16A2-4606-8240-C2470909538D}" srcOrd="1" destOrd="0" presId="urn:microsoft.com/office/officeart/2008/layout/AlternatingHexagons"/>
    <dgm:cxn modelId="{BBD9C22C-90C1-4C4E-8DEC-14A5CF2C52FC}" type="presParOf" srcId="{71B50E39-B6A3-471A-9B09-1A3F205C7E22}" destId="{C7EB9403-6F06-4FA5-BBB3-F6D6FC6BAC67}" srcOrd="2" destOrd="0" presId="urn:microsoft.com/office/officeart/2008/layout/AlternatingHexagons"/>
    <dgm:cxn modelId="{ABC37C11-8AC0-4C39-9E34-698856E15E16}" type="presParOf" srcId="{C7EB9403-6F06-4FA5-BBB3-F6D6FC6BAC67}" destId="{9FF396AA-33F2-455B-9413-41F0F28B328C}" srcOrd="0" destOrd="0" presId="urn:microsoft.com/office/officeart/2008/layout/AlternatingHexagons"/>
    <dgm:cxn modelId="{446B1DC4-741C-42DD-B8CB-2F379E307358}" type="presParOf" srcId="{C7EB9403-6F06-4FA5-BBB3-F6D6FC6BAC67}" destId="{62092414-EAB9-463A-8D9B-91A3A743CCEC}" srcOrd="1" destOrd="0" presId="urn:microsoft.com/office/officeart/2008/layout/AlternatingHexagons"/>
    <dgm:cxn modelId="{A587FE68-5424-46AA-955C-92D5915E7870}" type="presParOf" srcId="{C7EB9403-6F06-4FA5-BBB3-F6D6FC6BAC67}" destId="{FEF26AA4-729E-46AB-AE37-2E2C4DAA1A4F}" srcOrd="2" destOrd="0" presId="urn:microsoft.com/office/officeart/2008/layout/AlternatingHexagons"/>
    <dgm:cxn modelId="{FC5CD7D5-0B2D-4CB9-90BC-5ED9830BA303}" type="presParOf" srcId="{C7EB9403-6F06-4FA5-BBB3-F6D6FC6BAC67}" destId="{87B22DBF-49A8-4214-ADE3-DB8660D75694}" srcOrd="3" destOrd="0" presId="urn:microsoft.com/office/officeart/2008/layout/AlternatingHexagons"/>
    <dgm:cxn modelId="{44AD7D30-C4E0-444E-9E3C-514F54272D5D}" type="presParOf" srcId="{C7EB9403-6F06-4FA5-BBB3-F6D6FC6BAC67}" destId="{36E2313D-F53B-4EB3-9DC7-24EB9A4B7A8F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5F618-3F46-40FE-AB54-ABDC68814E1C}">
      <dsp:nvSpPr>
        <dsp:cNvPr id="0" name=""/>
        <dsp:cNvSpPr/>
      </dsp:nvSpPr>
      <dsp:spPr>
        <a:xfrm>
          <a:off x="3078998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017"/>
              </a:lnTo>
              <a:lnTo>
                <a:pt x="2178413" y="567017"/>
              </a:lnTo>
              <a:lnTo>
                <a:pt x="2178413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0AF645-DB45-4CC8-9E97-FBC8ECF32B5D}">
      <dsp:nvSpPr>
        <dsp:cNvPr id="0" name=""/>
        <dsp:cNvSpPr/>
      </dsp:nvSpPr>
      <dsp:spPr>
        <a:xfrm>
          <a:off x="3033278" y="784150"/>
          <a:ext cx="91440" cy="75605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6E89EB-24BE-4D1D-8441-A7A363D9D05C}">
      <dsp:nvSpPr>
        <dsp:cNvPr id="0" name=""/>
        <dsp:cNvSpPr/>
      </dsp:nvSpPr>
      <dsp:spPr>
        <a:xfrm>
          <a:off x="900584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2178413" y="0"/>
              </a:moveTo>
              <a:lnTo>
                <a:pt x="2178413" y="567017"/>
              </a:lnTo>
              <a:lnTo>
                <a:pt x="0" y="567017"/>
              </a:lnTo>
              <a:lnTo>
                <a:pt x="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4C710B-AAD3-4FDE-9DB7-116B9D1C0776}">
      <dsp:nvSpPr>
        <dsp:cNvPr id="0" name=""/>
        <dsp:cNvSpPr/>
      </dsp:nvSpPr>
      <dsp:spPr>
        <a:xfrm>
          <a:off x="2178827" y="137909"/>
          <a:ext cx="1800341" cy="646241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Arial"/>
            <a:buNone/>
          </a:pPr>
          <a:r>
            <a:rPr lang="de-DE" sz="1800" kern="1200" dirty="0">
              <a:solidFill>
                <a:schemeClr val="tx1"/>
              </a:solidFill>
            </a:rPr>
            <a:t>Transport </a:t>
          </a:r>
          <a:r>
            <a:rPr lang="de-DE" sz="1800" kern="1200" dirty="0" err="1">
              <a:solidFill>
                <a:schemeClr val="tx1"/>
              </a:solidFill>
            </a:rPr>
            <a:t>entir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osi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37909"/>
        <a:ext cx="1800341" cy="646241"/>
      </dsp:txXfrm>
    </dsp:sp>
    <dsp:sp modelId="{27A1F63E-023D-44DA-8371-BC00D7566CA4}">
      <dsp:nvSpPr>
        <dsp:cNvPr id="0" name=""/>
        <dsp:cNvSpPr/>
      </dsp:nvSpPr>
      <dsp:spPr>
        <a:xfrm>
          <a:off x="413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Move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</a:p>
      </dsp:txBody>
      <dsp:txXfrm>
        <a:off x="413" y="1540204"/>
        <a:ext cx="1800341" cy="900170"/>
      </dsp:txXfrm>
    </dsp:sp>
    <dsp:sp modelId="{7F886F2F-B8AD-4EFE-8619-8AEE2B3C7225}">
      <dsp:nvSpPr>
        <dsp:cNvPr id="0" name=""/>
        <dsp:cNvSpPr/>
      </dsp:nvSpPr>
      <dsp:spPr>
        <a:xfrm>
          <a:off x="2178827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 err="1">
              <a:solidFill>
                <a:schemeClr val="tx1"/>
              </a:solidFill>
            </a:rPr>
            <a:t>Don‘t</a:t>
          </a:r>
          <a:r>
            <a:rPr lang="de-DE" sz="1800" kern="1200" dirty="0">
              <a:solidFill>
                <a:schemeClr val="tx1"/>
              </a:solidFill>
            </a:rPr>
            <a:t> lose </a:t>
          </a:r>
          <a:r>
            <a:rPr lang="de-DE" sz="1800" kern="1200" dirty="0" err="1">
              <a:solidFill>
                <a:schemeClr val="tx1"/>
              </a:solidFill>
            </a:rPr>
            <a:t>any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th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rocess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540204"/>
        <a:ext cx="1800341" cy="900170"/>
      </dsp:txXfrm>
    </dsp:sp>
    <dsp:sp modelId="{2D412D9C-3583-4EFB-A80C-9B846AC10124}">
      <dsp:nvSpPr>
        <dsp:cNvPr id="0" name=""/>
        <dsp:cNvSpPr/>
      </dsp:nvSpPr>
      <dsp:spPr>
        <a:xfrm>
          <a:off x="4357240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Keep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and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alignmen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maintain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lin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of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sight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4357240" y="1540204"/>
        <a:ext cx="1800341" cy="9001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94F6CF-3C6D-449A-839A-DC3F16E2EA2F}">
      <dsp:nvSpPr>
        <dsp:cNvPr id="0" name=""/>
        <dsp:cNvSpPr/>
      </dsp:nvSpPr>
      <dsp:spPr>
        <a:xfrm rot="5400000">
          <a:off x="3437692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Recreate</a:t>
          </a:r>
          <a:r>
            <a:rPr lang="de-DE" sz="1800" kern="1200" dirty="0"/>
            <a:t> Code in Python</a:t>
          </a:r>
        </a:p>
      </dsp:txBody>
      <dsp:txXfrm rot="-5400000">
        <a:off x="3890545" y="974081"/>
        <a:ext cx="1352070" cy="1554103"/>
      </dsp:txXfrm>
    </dsp:sp>
    <dsp:sp modelId="{48F91170-7DB7-4CBF-8BD9-0FF0747DBE74}">
      <dsp:nvSpPr>
        <dsp:cNvPr id="0" name=""/>
        <dsp:cNvSpPr/>
      </dsp:nvSpPr>
      <dsp:spPr>
        <a:xfrm>
          <a:off x="5608320" y="1073799"/>
          <a:ext cx="251968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BD023A-1EAB-4244-B92C-F52991F49330}">
      <dsp:nvSpPr>
        <dsp:cNvPr id="0" name=""/>
        <dsp:cNvSpPr/>
      </dsp:nvSpPr>
      <dsp:spPr>
        <a:xfrm rot="5400000">
          <a:off x="1316284" y="768999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Understand</a:t>
          </a:r>
          <a:r>
            <a:rPr lang="de-DE" sz="1800" kern="1200" dirty="0"/>
            <a:t> </a:t>
          </a:r>
          <a:r>
            <a:rPr lang="de-DE" sz="1800" kern="1200" dirty="0" err="1"/>
            <a:t>Codebase</a:t>
          </a:r>
          <a:endParaRPr lang="de-DE" sz="1800" kern="1200" dirty="0"/>
        </a:p>
      </dsp:txBody>
      <dsp:txXfrm rot="-5400000">
        <a:off x="1769137" y="974081"/>
        <a:ext cx="1352070" cy="1554103"/>
      </dsp:txXfrm>
    </dsp:sp>
    <dsp:sp modelId="{9FF396AA-33F2-455B-9413-41F0F28B328C}">
      <dsp:nvSpPr>
        <dsp:cNvPr id="0" name=""/>
        <dsp:cNvSpPr/>
      </dsp:nvSpPr>
      <dsp:spPr>
        <a:xfrm rot="5400000">
          <a:off x="2372924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Add </a:t>
          </a:r>
          <a:r>
            <a:rPr lang="de-DE" sz="1800" kern="1200" dirty="0" err="1"/>
            <a:t>extensions</a:t>
          </a:r>
          <a:endParaRPr lang="de-DE" sz="1800" kern="1200" dirty="0"/>
        </a:p>
      </dsp:txBody>
      <dsp:txXfrm rot="-5400000">
        <a:off x="2825777" y="2890483"/>
        <a:ext cx="1352070" cy="1554103"/>
      </dsp:txXfrm>
    </dsp:sp>
    <dsp:sp modelId="{62092414-EAB9-463A-8D9B-91A3A743CCEC}">
      <dsp:nvSpPr>
        <dsp:cNvPr id="0" name=""/>
        <dsp:cNvSpPr/>
      </dsp:nvSpPr>
      <dsp:spPr>
        <a:xfrm>
          <a:off x="0" y="2990201"/>
          <a:ext cx="2438400" cy="1354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E2313D-F53B-4EB3-9DC7-24EB9A4B7A8F}">
      <dsp:nvSpPr>
        <dsp:cNvPr id="0" name=""/>
        <dsp:cNvSpPr/>
      </dsp:nvSpPr>
      <dsp:spPr>
        <a:xfrm rot="5400000">
          <a:off x="4494332" y="2685401"/>
          <a:ext cx="2257777" cy="1964266"/>
        </a:xfrm>
        <a:prstGeom prst="hexagon">
          <a:avLst>
            <a:gd name="adj" fmla="val 25000"/>
            <a:gd name="vf" fmla="val 115470"/>
          </a:avLst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Find </a:t>
          </a:r>
          <a:r>
            <a:rPr lang="de-DE" sz="1800" kern="1200" dirty="0" err="1"/>
            <a:t>best</a:t>
          </a:r>
          <a:r>
            <a:rPr lang="de-DE" sz="1800" kern="1200" dirty="0"/>
            <a:t> </a:t>
          </a:r>
          <a:r>
            <a:rPr lang="de-DE" sz="1800" kern="1200" dirty="0" err="1"/>
            <a:t>parameters</a:t>
          </a:r>
          <a:endParaRPr lang="de-DE" sz="1800" kern="1200" dirty="0"/>
        </a:p>
      </dsp:txBody>
      <dsp:txXfrm rot="-5400000">
        <a:off x="4947185" y="2890483"/>
        <a:ext cx="1352070" cy="15541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E915-6559-44BB-855F-9CAD86852803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F2FCE0-2DEB-499F-9498-5F87D9D6AF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507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F2FCE0-2DEB-499F-9498-5F87D9D6AF9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6308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283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774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6847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9477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105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0414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75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87728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57529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412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5382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728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4111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636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581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0231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307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521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432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E5B0C-9779-4EA3-2997-5C15B656F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4F5C2D6-67ED-1C11-A8A9-FDFFDB393F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386EE5-3B73-B613-3E97-E57313F79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448399-3037-2899-8136-06912B21E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DE5D70-5395-5E1C-71F0-F33C647EC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612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178209-A427-4CC9-737A-505FF4C0D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85EDD10-CF3C-D121-3B1B-B64E4772C9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049968-48A5-3C87-6EEF-1C7C56F2D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D8B0FF-0523-7B48-2417-DB5814499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DC593A-93DF-4721-2D62-07DA5320C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132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666260B-3A69-5DBC-C634-F78D3CDA7C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84D127B-8B72-7B9C-4FFB-C757B2FBD3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7F92BD-DD10-22A6-EC8E-D95A66E741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DCA1B4-EBB0-BDFB-4285-940D9D185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5ACEEB-45E7-58CA-FBD4-9D56995F7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570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D35CEE80-9913-49B6-AD2D-CD6015DCEA1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6BB5887F-93D5-475B-917E-FCC7B89F372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Title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07045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E87F14BC-2A89-442C-A2A4-F8C495F64EDE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CHAPTER_REFERENCE" hidden="1">
            <a:extLst>
              <a:ext uri="{FF2B5EF4-FFF2-40B4-BE49-F238E27FC236}">
                <a16:creationId xmlns:a16="http://schemas.microsoft.com/office/drawing/2014/main" id="{47AE036B-D905-4E75-9AA0-BBD4F9B323D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Title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977251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" name="MIO_AGENDA_IGNORE_NAVIGATION" hidden="1">
            <a:extLst>
              <a:ext uri="{FF2B5EF4-FFF2-40B4-BE49-F238E27FC236}">
                <a16:creationId xmlns:a16="http://schemas.microsoft.com/office/drawing/2014/main" id="{21E6B44B-2911-4D90-ADF1-345D287BEC40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MIO_AGENDA_IGNORE_CHAPTER_REFERENCE" hidden="1">
            <a:extLst>
              <a:ext uri="{FF2B5EF4-FFF2-40B4-BE49-F238E27FC236}">
                <a16:creationId xmlns:a16="http://schemas.microsoft.com/office/drawing/2014/main" id="{D22541A4-6CCB-49E3-87E5-CEF66BC7C1D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6414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01E527-3634-4BA5-A1E4-620B019CC3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9970BE9A-08D6-4159-A7B6-88479C7815D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MIO_AGENDA_IGNORE_CHAPTER_REFERENCE" hidden="1">
            <a:extLst>
              <a:ext uri="{FF2B5EF4-FFF2-40B4-BE49-F238E27FC236}">
                <a16:creationId xmlns:a16="http://schemas.microsoft.com/office/drawing/2014/main" id="{470398AC-9E3C-4202-BC74-310D36FEDC82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748269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MIO_AGENDA_IGNORE_NAVIGATION" hidden="1">
            <a:extLst>
              <a:ext uri="{FF2B5EF4-FFF2-40B4-BE49-F238E27FC236}">
                <a16:creationId xmlns:a16="http://schemas.microsoft.com/office/drawing/2014/main" id="{A2163211-8843-4B3A-A173-4CC8DE6FF39B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8F02921B-CECB-4A04-AB2B-50AE546A3B6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8625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B33AFD28-F06F-4496-B660-E40557BF44B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IGNORE_CHAPTER_REFERENCE" hidden="1">
            <a:extLst>
              <a:ext uri="{FF2B5EF4-FFF2-40B4-BE49-F238E27FC236}">
                <a16:creationId xmlns:a16="http://schemas.microsoft.com/office/drawing/2014/main" id="{9233F6B7-3A6D-4D1B-A7FB-196EDC508EE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82A5C28-0BF5-4D8F-94C9-8EE9CE7245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F3C3DFA-9FB3-46AB-BDF5-39E1DC2729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6FC1D4-487D-4C1C-A92F-A0C6E30EA16B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231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8361DA31-7C99-49AA-A40D-CC798429750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D1BC51F7-D24C-4262-85CD-7EFD0E8E488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7D770CEC-7A1C-4675-B9F6-4684B6BC5E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32612B95-CBCE-43BD-ACD5-F7E8E28AD6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97DD9-C2E6-4412-906F-CEA396FE065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742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0837ED46-4108-4499-BE40-E17599CFD67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BD69D7E4-8FB7-4417-A428-3FC842962DF0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EE7151CE-534A-4DA8-B077-606246FFE4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F6D2D6D-4A12-45B7-A359-4B35E6BD1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B17B4-6589-41B3-A983-093BB26C9BC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94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CFDE8B-36AF-80BC-EE2E-16ABEAFEB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0A5153-9BC8-92BC-DD6F-90BBD26870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1B7A74-789B-A92F-37EA-09C1A720D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026930-3817-1CC2-5009-54A09AA6F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892714-E6C2-1E8F-51E7-1A5915CD2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014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9FC4547F-C195-4067-8008-B68776595B5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12EACD47-41DE-4CD2-A21A-14DBE7C985A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354E020-0B8B-4490-8FBE-69D3AA2C5D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775EE3B-1424-455C-B471-9011952BEC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004DD8-5CCD-47AF-881E-102D039801F2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876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27CF3F4C-5874-4930-8527-36305B15F57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BBDF0290-19AC-4946-8A62-805CF2CCDC9C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aseCode">
            <a:extLst>
              <a:ext uri="{FF2B5EF4-FFF2-40B4-BE49-F238E27FC236}">
                <a16:creationId xmlns:a16="http://schemas.microsoft.com/office/drawing/2014/main" id="{A5F15993-9A11-497E-9B56-FBC6CFC14D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688FFC8-7352-479D-AA3C-FD6DC60CED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29B2D-FBA8-486E-BA8A-D44EBE6D7A73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6706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CAC30FC8-4769-493E-8A50-EE686BE7D3B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A86122FE-538F-4A32-A4D5-095A77004C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543C88E-E176-4291-8A87-994374277F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2A178BA9-7781-4CBD-AA26-059841B96E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B4A35-A981-4070-976E-FF0B78FCCF1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02630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C01345-8637-49F7-B27A-1F3623D0EA4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537F287-C3D9-41AB-A895-877ED68E01DE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937E4FF-E016-44F3-AD4A-BD40518CEB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0F3F35D-F2C2-4AB4-B366-EEC863736A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DB589F-A6FF-45A0-9279-59580FC81C96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58830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2ACF0E-68DE-4019-9B26-9765BBDE1FC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8170BC7A-230F-4CFF-B510-7C11B6B6B3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1B7F5CA-811D-4AE2-962B-BF8A99E307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EB031C3-69E1-4133-9550-E7CB21DD10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089A2F-E1F6-41D3-964D-CBD86C232A5E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0796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BE26B797-9949-48A3-976D-A898E3C18E4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4E60C47-69F3-4ABA-80FD-E5DF82E7BA1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09112F48-72C6-45E5-A1E0-1581DF24E1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A22A7399-BED7-4421-B384-26835214549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BAD39A-8E4D-4CED-BFA6-6A113684235A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7446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7583F471-57B6-4DAA-89A7-6E0D0C078BF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D1E299B4-0A88-451E-904B-278ECCE2D8C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486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7947515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97217509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upper right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left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339E1B40-A4E1-44DD-A0AE-DAB851381F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199848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E9423C-595F-B7DE-8BD0-F92B87FE4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51EDCA-9C1F-36C3-3ACA-3A4E2F53C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EF7775-98F4-057D-74CB-B3CBA47FF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F4A4C4-B0C2-B11E-4907-6622CA82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65CEC1-FCE5-5AD4-C5CD-E742B2072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6423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8980469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left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right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843778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9643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hart Title / Headline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bottom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36835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Chart Title / Headline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673085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Title right / Headline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left"/>
          <p:cNvSpPr>
            <a:spLocks noGrp="1"/>
          </p:cNvSpPr>
          <p:nvPr>
            <p:ph type="chart" sz="quarter" idx="24"/>
          </p:nvPr>
        </p:nvSpPr>
        <p:spPr>
          <a:xfrm>
            <a:off x="460271" y="2115775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Chart Title left / Headline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right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6608925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17119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Left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71945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left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Chart Title left / Headline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center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Chart Title center / Headline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right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Chart Title right / Headline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451293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bottom left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bottom center left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bottom center right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bottom right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34471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FEC01D-9E4A-A3B6-65C0-3825F8F6A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687633-4A66-4BC7-6120-722EC1B5E9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23D67D-0EBD-F767-1F39-B06F77C036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ECF1-A56A-4ED7-43D3-BEA60D921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B341865-32D7-D5D9-F995-8E1C555F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31D415-62EE-AF6E-6E15-24BD69037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314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upper left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upper right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bottom left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bottom right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748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left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right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left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883534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808537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07551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itle ( as Text PH)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ubtitle ( as Text PH)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683506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Subtitle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5964882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middle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center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right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78639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center right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center left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right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620951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left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center right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center left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right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80722BCF-EAC6-4563-95CB-8DBE842E9D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900FBF6-54F6-4B67-A1F3-CFB545048C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8D3198-C277-4239-A0FE-263D3F9A09A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17923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top left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top right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bottom left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bottom right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3663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AD72B7-5058-5133-7CFE-5E343C00C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C94835-D373-8DA6-651A-5C9A47823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D3BBFA-AD95-0E13-6EF5-A4A64CBA0F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BB9A80-373E-F727-3800-08BF4F3854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11283F-EBD5-E144-4C12-EFC44FA2CE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DB5DAD4-05BF-D04A-65AC-C07661068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9E5D2D-635B-3F4C-7B54-42735AC59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EC08986-68EA-14BF-94CA-1527B9137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8502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MIO_AGENDA_LAST_SLIDE" hidden="1">
            <a:extLst>
              <a:ext uri="{FF2B5EF4-FFF2-40B4-BE49-F238E27FC236}">
                <a16:creationId xmlns:a16="http://schemas.microsoft.com/office/drawing/2014/main" id="{249491D1-41CC-455A-8F05-5CEA24B33A18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NAVIGATION" hidden="1">
            <a:extLst>
              <a:ext uri="{FF2B5EF4-FFF2-40B4-BE49-F238E27FC236}">
                <a16:creationId xmlns:a16="http://schemas.microsoft.com/office/drawing/2014/main" id="{9518ECE1-C45A-4DB9-B0F0-E67A14C77DA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642E351A-DEBD-43E5-AD67-7FEDF79D24F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D62DBCE-A9B0-4246-A41B-735C969CF0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080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MIO_AGENDA_LAST_SLIDE" hidden="1">
            <a:extLst>
              <a:ext uri="{FF2B5EF4-FFF2-40B4-BE49-F238E27FC236}">
                <a16:creationId xmlns:a16="http://schemas.microsoft.com/office/drawing/2014/main" id="{4DE01233-0E5B-4D44-9AA0-8C2FAEC3AA99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C544D53A-D969-4D8A-9227-FE63C48016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73E0B1A6-781D-43D1-9647-99C9EAE528B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527060D-3343-49A1-9B3C-60374CE0CF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9770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57200" y="1714500"/>
            <a:ext cx="5638799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6D36862-655E-4012-828B-77C9C50E5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0FBE14FE-8368-48A9-9469-038784957BD4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7994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F614DE80-8C7B-4676-9D35-D659766837C7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9D7CC3-2CA9-46E2-81C1-FB4543CB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902917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83AF7E6C-5496-4190-AE22-49321A84B469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VALID_LAYOUT" hidden="1">
            <a:extLst>
              <a:ext uri="{FF2B5EF4-FFF2-40B4-BE49-F238E27FC236}">
                <a16:creationId xmlns:a16="http://schemas.microsoft.com/office/drawing/2014/main" id="{636C7600-5E54-4871-BD57-39F7D85C964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A5342FA-67EE-4ADC-9C59-3703A4E3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343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EDA56DE6-A1BA-458D-8E96-17188D541BFA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2A54FD-069B-4D28-8BAD-8C8AADEE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218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60887" y="1714500"/>
            <a:ext cx="11277598" cy="4648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C4C53B51-12E9-46AC-A69D-84DDBEA6B078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EC1E235-3062-4F03-8411-7E415A89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47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4509" y="2080551"/>
            <a:ext cx="11281285" cy="40404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/ Chart title"/>
          <p:cNvSpPr>
            <a:spLocks noGrp="1"/>
          </p:cNvSpPr>
          <p:nvPr>
            <p:ph type="body" sz="quarter" idx="18"/>
          </p:nvPr>
        </p:nvSpPr>
        <p:spPr>
          <a:xfrm>
            <a:off x="457200" y="1723364"/>
            <a:ext cx="11288595" cy="3571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9C5E24D-2264-4B37-BBC9-253349E5F4FF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599738-D568-49F1-87EE-956C570F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7663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57038" y="2136645"/>
            <a:ext cx="5381445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57041" y="1714500"/>
            <a:ext cx="538144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887" y="2136645"/>
            <a:ext cx="5372330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0887" y="1714500"/>
            <a:ext cx="537480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C2140F0C-FA1D-42CA-9599-41C4E3B59FD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C52FF8-2BD1-46C1-8105-1A5862154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255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0887" y="2064085"/>
            <a:ext cx="3552881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left / Chart title"/>
          <p:cNvSpPr>
            <a:spLocks noGrp="1"/>
          </p:cNvSpPr>
          <p:nvPr>
            <p:ph type="body" sz="quarter" idx="18"/>
          </p:nvPr>
        </p:nvSpPr>
        <p:spPr>
          <a:xfrm>
            <a:off x="460887" y="1714500"/>
            <a:ext cx="355231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17849" y="2064085"/>
            <a:ext cx="3567833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Headline center / Chart title"/>
          <p:cNvSpPr>
            <a:spLocks noGrp="1"/>
          </p:cNvSpPr>
          <p:nvPr>
            <p:ph type="body" sz="quarter" idx="20"/>
          </p:nvPr>
        </p:nvSpPr>
        <p:spPr>
          <a:xfrm>
            <a:off x="4317847" y="1714500"/>
            <a:ext cx="356783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67555" y="2064085"/>
            <a:ext cx="3552886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Headline right / Chart title"/>
          <p:cNvSpPr>
            <a:spLocks noGrp="1"/>
          </p:cNvSpPr>
          <p:nvPr>
            <p:ph type="body" sz="quarter" idx="22"/>
          </p:nvPr>
        </p:nvSpPr>
        <p:spPr>
          <a:xfrm>
            <a:off x="8167555" y="1714500"/>
            <a:ext cx="3552886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8DE0E4EB-2CC6-4FB2-8DAE-A99F30E30E6D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B8D8EA-18D3-4433-A2E1-2A9E61E5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8531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223778-4C37-0D90-F505-9A28723F5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1E455B-39D6-9E29-6931-7EE939D63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ABB72C-ED0D-87BF-F669-EC3031E11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623494-E1CD-CF7A-9677-0BCBA9707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2165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25958E-1139-CF0F-B099-004A9A562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37230A-1EA1-E628-B5BD-99DB4C3A9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D70B7B-6E95-EEFC-E96F-CE25147A2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904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437916-8E9E-857C-DC20-3350BDAA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40702A-330C-5C7E-1907-5494A3415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9B74CD-2984-2636-EC15-A291C18157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8AAECF-A7B9-8F4A-9BEC-6844B70F0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B17B6F-162B-382E-644A-2E1F505F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6FF94F-CB19-524B-6BC1-000B8A509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44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799C2-9EEF-21B9-FCC2-202FCC50C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57289FA-F3AB-9A87-E101-052F2B75C1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5F9253-FB6A-4C28-B1DB-D2BB3B5633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F5CCFC-E67F-8259-0501-1095190F8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1E48A9C-CAC5-F443-0926-AB076FECC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55176F-6D7D-5344-A978-1D9306581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532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ags" Target="../tags/tag1.xml"/><Relationship Id="rId55" Type="http://schemas.openxmlformats.org/officeDocument/2006/relationships/image" Target="../media/image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C9B0AD-B397-B7F8-652F-057E07FAC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C97EAC-974A-7817-8FCD-BBE0D2372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E5C228-3454-2110-F24D-35EA5DC4C1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42C742-0D0B-441D-9413-6B64D1F25131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3639F9-4C62-7DB6-192D-C9977E90A2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4B804C-3D3C-C048-E59E-A53F497F9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1569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28FFD4C-A54A-44BE-B5F8-0D7EBAA5F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83087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425" imgH="426" progId="TCLayout.ActiveDocument.1">
                  <p:embed/>
                </p:oleObj>
              </mc:Choice>
              <mc:Fallback>
                <p:oleObj name="think-cell Slide" r:id="rId54" imgW="425" imgH="4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28FFD4C-A54A-44BE-B5F8-0D7EBAA5F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>
            <p:custDataLst>
              <p:tags r:id="rId51"/>
            </p:custDataLst>
          </p:nvPr>
        </p:nvSpPr>
        <p:spPr>
          <a:xfrm>
            <a:off x="6335184" y="6519673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ective </a:t>
            </a:r>
            <a:r>
              <a:rPr lang="en-US" sz="9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haviour</a:t>
            </a: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Optimal Shepherd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AF3F685E-75BA-4AAC-8247-5B8C55DC34A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010D3BDB-9505-4DFA-9DF5-8ABBE694D4C1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4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00" indent="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6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1.xml"/><Relationship Id="rId6" Type="http://schemas.openxmlformats.org/officeDocument/2006/relationships/image" Target="../media/image23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video" Target="../media/media1.mp4"/><Relationship Id="rId7" Type="http://schemas.openxmlformats.org/officeDocument/2006/relationships/image" Target="../media/image7.svg"/><Relationship Id="rId2" Type="http://schemas.microsoft.com/office/2007/relationships/media" Target="../media/media1.mp4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video" Target="../media/media2.mp4"/><Relationship Id="rId7" Type="http://schemas.openxmlformats.org/officeDocument/2006/relationships/image" Target="../media/image7.svg"/><Relationship Id="rId2" Type="http://schemas.microsoft.com/office/2007/relationships/media" Target="../media/media2.mp4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video" Target="../media/media3.mp4"/><Relationship Id="rId7" Type="http://schemas.openxmlformats.org/officeDocument/2006/relationships/image" Target="../media/image7.svg"/><Relationship Id="rId2" Type="http://schemas.microsoft.com/office/2007/relationships/media" Target="../media/media3.mp4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3.sv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9.svg"/><Relationship Id="rId10" Type="http://schemas.openxmlformats.org/officeDocument/2006/relationships/image" Target="../media/image16.png"/><Relationship Id="rId4" Type="http://schemas.openxmlformats.org/officeDocument/2006/relationships/image" Target="../media/image8.png"/><Relationship Id="rId9" Type="http://schemas.openxmlformats.org/officeDocument/2006/relationships/image" Target="../media/image28.svg"/><Relationship Id="rId14" Type="http://schemas.openxmlformats.org/officeDocument/2006/relationships/image" Target="../media/image3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7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8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9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video" Target="../media/media4.mp4"/><Relationship Id="rId2" Type="http://schemas.microsoft.com/office/2007/relationships/media" Target="../media/media4.mp4"/><Relationship Id="rId1" Type="http://schemas.openxmlformats.org/officeDocument/2006/relationships/tags" Target="../tags/tag40.xml"/><Relationship Id="rId6" Type="http://schemas.openxmlformats.org/officeDocument/2006/relationships/image" Target="../media/image36.png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video" Target="../media/media5.mp4"/><Relationship Id="rId2" Type="http://schemas.microsoft.com/office/2007/relationships/media" Target="../media/media5.mp4"/><Relationship Id="rId1" Type="http://schemas.openxmlformats.org/officeDocument/2006/relationships/tags" Target="../tags/tag41.xml"/><Relationship Id="rId6" Type="http://schemas.openxmlformats.org/officeDocument/2006/relationships/image" Target="../media/image37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4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7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8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22.png"/><Relationship Id="rId4" Type="http://schemas.openxmlformats.org/officeDocument/2006/relationships/diagramData" Target="../diagrams/data1.xml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EA4DC629-1293-B17B-696A-081BDEA564C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156857" y="10"/>
            <a:ext cx="9035143" cy="685799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CBB8FB6-E719-E096-2886-43174433BCC7}"/>
              </a:ext>
            </a:extLst>
          </p:cNvPr>
          <p:cNvSpPr/>
          <p:nvPr/>
        </p:nvSpPr>
        <p:spPr>
          <a:xfrm>
            <a:off x="-10886" y="3"/>
            <a:ext cx="10414726" cy="6857989"/>
          </a:xfrm>
          <a:prstGeom prst="rect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100000">
                <a:srgbClr val="FFFFFF">
                  <a:alpha val="0"/>
                </a:srgbClr>
              </a:gs>
              <a:gs pos="78000">
                <a:schemeClr val="bg1">
                  <a:alpha val="1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AFF8405-AB67-6CDD-70D8-1B34064B7023}"/>
              </a:ext>
            </a:extLst>
          </p:cNvPr>
          <p:cNvSpPr txBox="1">
            <a:spLocks/>
          </p:cNvSpPr>
          <p:nvPr/>
        </p:nvSpPr>
        <p:spPr>
          <a:xfrm>
            <a:off x="477980" y="1635759"/>
            <a:ext cx="4642659" cy="197842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Optimal </a:t>
            </a:r>
            <a:r>
              <a:rPr lang="de-DE" dirty="0" err="1"/>
              <a:t>Shepherding</a:t>
            </a:r>
            <a:r>
              <a:rPr lang="de-DE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7178983B-BC49-3245-F391-D15DA1BE485D}"/>
              </a:ext>
            </a:extLst>
          </p:cNvPr>
          <p:cNvSpPr txBox="1">
            <a:spLocks/>
          </p:cNvSpPr>
          <p:nvPr/>
        </p:nvSpPr>
        <p:spPr>
          <a:xfrm>
            <a:off x="477980" y="3386103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Franziska Weber</a:t>
            </a:r>
            <a:br>
              <a:rPr lang="de-DE" sz="2000" dirty="0"/>
            </a:br>
            <a:r>
              <a:rPr lang="de-DE" sz="2000" dirty="0"/>
              <a:t>Franz Muszarsky</a:t>
            </a:r>
            <a:br>
              <a:rPr lang="de-DE" sz="2000" dirty="0"/>
            </a:br>
            <a:r>
              <a:rPr lang="de-DE" sz="2000" dirty="0"/>
              <a:t>Kimberley Fring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2BCAE0-6508-CBF3-A393-95F642DD4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69" y="122090"/>
            <a:ext cx="1609950" cy="1000265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93129565-80FD-E2AD-FB90-242AB301947B}"/>
              </a:ext>
            </a:extLst>
          </p:cNvPr>
          <p:cNvSpPr txBox="1">
            <a:spLocks/>
          </p:cNvSpPr>
          <p:nvPr/>
        </p:nvSpPr>
        <p:spPr>
          <a:xfrm>
            <a:off x="477980" y="5771938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dirty="0"/>
              <a:t>Collective </a:t>
            </a:r>
            <a:r>
              <a:rPr lang="de-DE" sz="1600" dirty="0" err="1"/>
              <a:t>Behaviour</a:t>
            </a:r>
            <a:endParaRPr lang="de-DE" sz="1600" dirty="0"/>
          </a:p>
          <a:p>
            <a:pPr marL="0" indent="0">
              <a:buNone/>
            </a:pPr>
            <a:r>
              <a:rPr lang="de-DE" sz="1600" dirty="0" err="1"/>
              <a:t>Iztok</a:t>
            </a:r>
            <a:r>
              <a:rPr lang="de-DE" sz="1600" dirty="0"/>
              <a:t> </a:t>
            </a:r>
            <a:r>
              <a:rPr lang="de-DE" sz="1600" dirty="0" err="1"/>
              <a:t>Lebar</a:t>
            </a:r>
            <a:r>
              <a:rPr lang="de-DE" sz="1600" dirty="0"/>
              <a:t> </a:t>
            </a:r>
            <a:r>
              <a:rPr lang="de-DE" sz="1600" dirty="0" err="1"/>
              <a:t>Bajec</a:t>
            </a:r>
            <a:r>
              <a:rPr lang="de-DE" sz="1600" dirty="0"/>
              <a:t> | </a:t>
            </a:r>
            <a:r>
              <a:rPr lang="de-DE" sz="1600" dirty="0" err="1"/>
              <a:t>izredni</a:t>
            </a:r>
            <a:r>
              <a:rPr lang="de-DE" sz="1600" dirty="0"/>
              <a:t> </a:t>
            </a:r>
            <a:r>
              <a:rPr lang="de-DE" sz="1600" dirty="0" err="1"/>
              <a:t>professor</a:t>
            </a:r>
            <a:r>
              <a:rPr lang="de-DE" sz="1600" dirty="0"/>
              <a:t> | </a:t>
            </a:r>
            <a:r>
              <a:rPr lang="de-DE" sz="1600" dirty="0" err="1"/>
              <a:t>mentor</a:t>
            </a: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83583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Finding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A3DBA363-6E56-5B6E-B950-B4FBA0627617}"/>
              </a:ext>
            </a:extLst>
          </p:cNvPr>
          <p:cNvGrpSpPr/>
          <p:nvPr/>
        </p:nvGrpSpPr>
        <p:grpSpPr>
          <a:xfrm>
            <a:off x="2727084" y="1215812"/>
            <a:ext cx="7783011" cy="4753638"/>
            <a:chOff x="1797884" y="1215232"/>
            <a:chExt cx="7783011" cy="475363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B28F2581-73C8-915D-7DE8-455BF5B4F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97884" y="1215232"/>
              <a:ext cx="7783011" cy="4753638"/>
            </a:xfrm>
            <a:prstGeom prst="rect">
              <a:avLst/>
            </a:prstGeom>
          </p:spPr>
        </p:pic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168EE7-BE64-F879-9496-3DECB34EDE50}"/>
                </a:ext>
              </a:extLst>
            </p:cNvPr>
            <p:cNvSpPr/>
            <p:nvPr/>
          </p:nvSpPr>
          <p:spPr bwMode="gray">
            <a:xfrm>
              <a:off x="8067040" y="3139440"/>
              <a:ext cx="1513855" cy="250332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de-DE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2484832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oving</a:t>
            </a:r>
            <a:endParaRPr lang="de-DE" sz="1300" dirty="0"/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3869148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Mustering</a:t>
            </a:r>
            <a:endParaRPr lang="de-DE" sz="1300" dirty="0"/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46559" y="5253463"/>
            <a:ext cx="2537939" cy="45988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iving</a:t>
            </a:r>
            <a:endParaRPr lang="de-DE" sz="1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7690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Drov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ovingplot">
            <a:hlinkClick r:id="" action="ppaction://media"/>
            <a:extLst>
              <a:ext uri="{FF2B5EF4-FFF2-40B4-BE49-F238E27FC236}">
                <a16:creationId xmlns:a16="http://schemas.microsoft.com/office/drawing/2014/main" id="{B1A27E17-BA45-DDD7-513A-2552B19939B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75920" y="996380"/>
            <a:ext cx="11043920" cy="55219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44836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9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Muster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10" name="output_movie (1)">
            <a:hlinkClick r:id="" action="ppaction://media"/>
            <a:extLst>
              <a:ext uri="{FF2B5EF4-FFF2-40B4-BE49-F238E27FC236}">
                <a16:creationId xmlns:a16="http://schemas.microsoft.com/office/drawing/2014/main" id="{84BB9B66-6F5E-C3C8-54D8-F422B40167ED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25120" y="1127760"/>
            <a:ext cx="10698480" cy="5349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97172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3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hepherd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Driving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ivingplot">
            <a:hlinkClick r:id="" action="ppaction://media"/>
            <a:extLst>
              <a:ext uri="{FF2B5EF4-FFF2-40B4-BE49-F238E27FC236}">
                <a16:creationId xmlns:a16="http://schemas.microsoft.com/office/drawing/2014/main" id="{FA1FDCC5-6B79-41AD-CBD5-F40FD5D42772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94640" y="1008900"/>
            <a:ext cx="10646370" cy="54680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83184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6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3808036"/>
            <a:ext cx="2160000" cy="35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46A38"/>
                </a:solidFill>
                <a:latin typeface="Calibri"/>
              </a:rPr>
              <a:t>T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98099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0" dirty="0">
                <a:effectLst/>
                <a:latin typeface="Arial" panose="020B0604020202020204" pitchFamily="34" charset="0"/>
              </a:rPr>
              <a:t>*</a:t>
            </a:r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Baxter D, Garratt M, </a:t>
            </a:r>
            <a:r>
              <a:rPr lang="en-US" sz="1100" i="1" dirty="0" err="1">
                <a:solidFill>
                  <a:srgbClr val="1F2328"/>
                </a:solidFill>
                <a:latin typeface="-apple-system"/>
              </a:rPr>
              <a:t>Abbass</a:t>
            </a:r>
            <a:r>
              <a:rPr lang="en-US" sz="1100" i="1" dirty="0">
                <a:solidFill>
                  <a:srgbClr val="1F2328"/>
                </a:solidFill>
                <a:latin typeface="-apple-system"/>
              </a:rPr>
              <a:t> HA (2021) Simulating single and multiple sheepdogs guidance of a sheep swarm</a:t>
            </a:r>
            <a:r>
              <a:rPr lang="en-US" sz="1100" b="0" i="0" dirty="0">
                <a:effectLst/>
                <a:latin typeface="Arial" panose="020B0604020202020204" pitchFamily="34" charset="0"/>
              </a:rPr>
              <a:t>. </a:t>
            </a:r>
            <a:endParaRPr lang="en-US" sz="1100" b="0" i="0" dirty="0">
              <a:solidFill>
                <a:srgbClr val="1F2328"/>
              </a:solidFill>
              <a:effectLst/>
              <a:latin typeface="-apple-system"/>
            </a:endParaRP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971597" y="1534265"/>
            <a:ext cx="2337923" cy="1997710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4794186" y="2559537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3032126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</a:t>
            </a:r>
            <a:r>
              <a:rPr lang="de-DE" sz="2800" dirty="0" err="1"/>
              <a:t>Extensions</a:t>
            </a: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1D1C584-48C8-9E60-AF82-1FC5FDE43095}"/>
              </a:ext>
            </a:extLst>
          </p:cNvPr>
          <p:cNvSpPr txBox="1">
            <a:spLocks/>
          </p:cNvSpPr>
          <p:nvPr/>
        </p:nvSpPr>
        <p:spPr bwMode="gray">
          <a:xfrm>
            <a:off x="10121069" y="-632032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134">
            <a:extLst>
              <a:ext uri="{FF2B5EF4-FFF2-40B4-BE49-F238E27FC236}">
                <a16:creationId xmlns:a16="http://schemas.microsoft.com/office/drawing/2014/main" id="{716D3267-EB0D-EF4E-667B-D3F0D0A6E3F6}"/>
              </a:ext>
            </a:extLst>
          </p:cNvPr>
          <p:cNvGrpSpPr/>
          <p:nvPr/>
        </p:nvGrpSpPr>
        <p:grpSpPr>
          <a:xfrm>
            <a:off x="10343752" y="-1599267"/>
            <a:ext cx="1598523" cy="2005765"/>
            <a:chOff x="6763077" y="1602865"/>
            <a:chExt cx="1598523" cy="2005765"/>
          </a:xfrm>
        </p:grpSpPr>
        <p:sp>
          <p:nvSpPr>
            <p:cNvPr id="11" name="Teardrop 135">
              <a:extLst>
                <a:ext uri="{FF2B5EF4-FFF2-40B4-BE49-F238E27FC236}">
                  <a16:creationId xmlns:a16="http://schemas.microsoft.com/office/drawing/2014/main" id="{01E1E537-E5B1-F9C9-F75A-6040394E28F6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342E966E-E0B6-BAFE-8053-7B7D840516D3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Oval 138">
              <a:extLst>
                <a:ext uri="{FF2B5EF4-FFF2-40B4-BE49-F238E27FC236}">
                  <a16:creationId xmlns:a16="http://schemas.microsoft.com/office/drawing/2014/main" id="{6D5B0AA2-343A-1C7E-C76E-962217F150AC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4" name="Grafik 13" descr="Ambition mit einfarbiger Füllung">
            <a:extLst>
              <a:ext uri="{FF2B5EF4-FFF2-40B4-BE49-F238E27FC236}">
                <a16:creationId xmlns:a16="http://schemas.microsoft.com/office/drawing/2014/main" id="{8A869A74-2184-9A62-719A-CFEAA19163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8634" y="-1285227"/>
            <a:ext cx="792000" cy="792000"/>
          </a:xfrm>
          <a:prstGeom prst="rect">
            <a:avLst/>
          </a:prstGeom>
        </p:spPr>
      </p:pic>
      <p:pic>
        <p:nvPicPr>
          <p:cNvPr id="29" name="Grafik 28" descr="Schaf mit einfarbiger Füllung">
            <a:extLst>
              <a:ext uri="{FF2B5EF4-FFF2-40B4-BE49-F238E27FC236}">
                <a16:creationId xmlns:a16="http://schemas.microsoft.com/office/drawing/2014/main" id="{8E7CE5BC-87FA-316F-357A-8681B7DFBB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83358" y="1845528"/>
            <a:ext cx="914400" cy="914400"/>
          </a:xfrm>
          <a:prstGeom prst="rect">
            <a:avLst/>
          </a:prstGeom>
        </p:spPr>
      </p:pic>
      <p:pic>
        <p:nvPicPr>
          <p:cNvPr id="31" name="Grafik 30" descr="Schaf mit einfarbiger Füllung">
            <a:extLst>
              <a:ext uri="{FF2B5EF4-FFF2-40B4-BE49-F238E27FC236}">
                <a16:creationId xmlns:a16="http://schemas.microsoft.com/office/drawing/2014/main" id="{5C2E3F93-960A-71DC-6EE3-82105DDA17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0768" y="2229826"/>
            <a:ext cx="914400" cy="914400"/>
          </a:xfrm>
          <a:prstGeom prst="rect">
            <a:avLst/>
          </a:prstGeom>
        </p:spPr>
      </p:pic>
      <p:pic>
        <p:nvPicPr>
          <p:cNvPr id="33" name="Grafik 32" descr="Schaf mit einfarbiger Füllung">
            <a:extLst>
              <a:ext uri="{FF2B5EF4-FFF2-40B4-BE49-F238E27FC236}">
                <a16:creationId xmlns:a16="http://schemas.microsoft.com/office/drawing/2014/main" id="{7577E88E-E329-5F3B-6AB5-7283D2D8BC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89321" y="2250594"/>
            <a:ext cx="914400" cy="914400"/>
          </a:xfrm>
          <a:prstGeom prst="rect">
            <a:avLst/>
          </a:prstGeom>
        </p:spPr>
      </p:pic>
      <p:pic>
        <p:nvPicPr>
          <p:cNvPr id="38" name="Grafik 37" descr="Zaun mit einfarbiger Füllung">
            <a:extLst>
              <a:ext uri="{FF2B5EF4-FFF2-40B4-BE49-F238E27FC236}">
                <a16:creationId xmlns:a16="http://schemas.microsoft.com/office/drawing/2014/main" id="{2E48D220-2761-5CE2-28C1-14B3168D7B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26158" y="2455232"/>
            <a:ext cx="914400" cy="914400"/>
          </a:xfrm>
          <a:prstGeom prst="rect">
            <a:avLst/>
          </a:prstGeom>
        </p:spPr>
      </p:pic>
      <p:pic>
        <p:nvPicPr>
          <p:cNvPr id="40" name="Grafik 39" descr="Zaun mit einfarbiger Füllung">
            <a:extLst>
              <a:ext uri="{FF2B5EF4-FFF2-40B4-BE49-F238E27FC236}">
                <a16:creationId xmlns:a16="http://schemas.microsoft.com/office/drawing/2014/main" id="{21A284CD-BF51-73F1-31A5-F3E0EAD2C2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91354" y="2455232"/>
            <a:ext cx="914400" cy="914400"/>
          </a:xfrm>
          <a:prstGeom prst="rect">
            <a:avLst/>
          </a:prstGeom>
        </p:spPr>
      </p:pic>
      <p:sp>
        <p:nvSpPr>
          <p:cNvPr id="41" name="Rectangle 78">
            <a:extLst>
              <a:ext uri="{FF2B5EF4-FFF2-40B4-BE49-F238E27FC236}">
                <a16:creationId xmlns:a16="http://schemas.microsoft.com/office/drawing/2014/main" id="{FE7C0328-569D-4FF6-EFE2-F5C1D8CFBD55}"/>
              </a:ext>
            </a:extLst>
          </p:cNvPr>
          <p:cNvSpPr/>
          <p:nvPr/>
        </p:nvSpPr>
        <p:spPr>
          <a:xfrm>
            <a:off x="1807344" y="1183055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Fence </a:t>
            </a:r>
          </a:p>
        </p:txBody>
      </p:sp>
      <p:sp>
        <p:nvSpPr>
          <p:cNvPr id="42" name="Hexagon 74">
            <a:extLst>
              <a:ext uri="{FF2B5EF4-FFF2-40B4-BE49-F238E27FC236}">
                <a16:creationId xmlns:a16="http://schemas.microsoft.com/office/drawing/2014/main" id="{9DB6B5AD-BEC3-DD7E-605C-7F82370CA033}"/>
              </a:ext>
            </a:extLst>
          </p:cNvPr>
          <p:cNvSpPr/>
          <p:nvPr/>
        </p:nvSpPr>
        <p:spPr bwMode="gray">
          <a:xfrm>
            <a:off x="4729133" y="1534265"/>
            <a:ext cx="2337923" cy="1997710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543B92FA-8FF3-07CA-B86A-2D61CF706D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56498" y="1779708"/>
            <a:ext cx="914400" cy="914400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BEEFDFC-D7C0-B8A6-585A-DC1E2DFF52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50790" y="2261841"/>
            <a:ext cx="914400" cy="914400"/>
          </a:xfrm>
          <a:prstGeom prst="rect">
            <a:avLst/>
          </a:prstGeom>
        </p:spPr>
      </p:pic>
      <p:sp>
        <p:nvSpPr>
          <p:cNvPr id="45" name="Rectangle 78">
            <a:extLst>
              <a:ext uri="{FF2B5EF4-FFF2-40B4-BE49-F238E27FC236}">
                <a16:creationId xmlns:a16="http://schemas.microsoft.com/office/drawing/2014/main" id="{6ABA3660-A532-E6B9-5B79-0FB628765CFF}"/>
              </a:ext>
            </a:extLst>
          </p:cNvPr>
          <p:cNvSpPr/>
          <p:nvPr/>
        </p:nvSpPr>
        <p:spPr>
          <a:xfrm>
            <a:off x="4729133" y="1183055"/>
            <a:ext cx="2821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econd/multiple Shepherds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7" name="Rectangle 79">
                <a:extLst>
                  <a:ext uri="{FF2B5EF4-FFF2-40B4-BE49-F238E27FC236}">
                    <a16:creationId xmlns:a16="http://schemas.microsoft.com/office/drawing/2014/main" id="{FBECF220-E6F1-2EAB-99A8-9FE44FB50BCA}"/>
                  </a:ext>
                </a:extLst>
              </p:cNvPr>
              <p:cNvSpPr/>
              <p:nvPr/>
            </p:nvSpPr>
            <p:spPr>
              <a:xfrm>
                <a:off x="664655" y="4049033"/>
                <a:ext cx="3418159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r>
                  <a:rPr lang="de-DE" sz="1600" b="1" dirty="0" err="1">
                    <a:solidFill>
                      <a:prstClr val="black"/>
                    </a:solidFill>
                  </a:rPr>
                  <a:t>Required</a:t>
                </a:r>
                <a:r>
                  <a:rPr lang="de-DE" sz="1600" b="1" dirty="0">
                    <a:solidFill>
                      <a:prstClr val="black"/>
                    </a:solidFill>
                  </a:rPr>
                  <a:t> </a:t>
                </a:r>
                <a:r>
                  <a:rPr lang="de-DE" sz="1600" b="1" dirty="0" err="1">
                    <a:solidFill>
                      <a:prstClr val="black"/>
                    </a:solidFill>
                  </a:rPr>
                  <a:t>Modifications</a:t>
                </a:r>
                <a:r>
                  <a:rPr lang="de-DE" sz="1600" b="1" dirty="0">
                    <a:solidFill>
                      <a:prstClr val="black"/>
                    </a:solidFill>
                  </a:rPr>
                  <a:t>:</a:t>
                </a: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de-DE" sz="1600" dirty="0">
                    <a:solidFill>
                      <a:prstClr val="black"/>
                    </a:solidFill>
                  </a:rPr>
                  <a:t>Min/Max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de-DE" sz="1600" dirty="0">
                    <a:solidFill>
                      <a:prstClr val="black"/>
                    </a:solidFill>
                  </a:rPr>
                  <a:t> and </a:t>
                </a:r>
                <a14:m>
                  <m:oMath xmlns:m="http://schemas.openxmlformats.org/officeDocument/2006/math">
                    <m:r>
                      <a:rPr lang="de-DE" sz="1600" i="1" dirty="0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de-DE" sz="1600" dirty="0">
                    <a:solidFill>
                      <a:prstClr val="black"/>
                    </a:solidFill>
                  </a:rPr>
                  <a:t> </a:t>
                </a:r>
                <a:r>
                  <a:rPr lang="de-DE" sz="1600" dirty="0" err="1">
                    <a:solidFill>
                      <a:prstClr val="black"/>
                    </a:solidFill>
                  </a:rPr>
                  <a:t>coordinates</a:t>
                </a:r>
                <a:endParaRPr kumimoji="0" lang="de-DE" sz="16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endParaRPr kumimoji="0" lang="de-DE" sz="16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47" name="Rectangle 79">
                <a:extLst>
                  <a:ext uri="{FF2B5EF4-FFF2-40B4-BE49-F238E27FC236}">
                    <a16:creationId xmlns:a16="http://schemas.microsoft.com/office/drawing/2014/main" id="{FBECF220-E6F1-2EAB-99A8-9FE44FB50B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655" y="4049033"/>
                <a:ext cx="3418159" cy="830997"/>
              </a:xfrm>
              <a:prstGeom prst="rect">
                <a:avLst/>
              </a:prstGeom>
              <a:blipFill>
                <a:blip r:embed="rId12"/>
                <a:stretch>
                  <a:fillRect l="-891" t="-21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Rectangle 79">
            <a:extLst>
              <a:ext uri="{FF2B5EF4-FFF2-40B4-BE49-F238E27FC236}">
                <a16:creationId xmlns:a16="http://schemas.microsoft.com/office/drawing/2014/main" id="{14849DD2-A8AE-D96B-8038-D4FAD3AB65DB}"/>
              </a:ext>
            </a:extLst>
          </p:cNvPr>
          <p:cNvSpPr/>
          <p:nvPr/>
        </p:nvSpPr>
        <p:spPr>
          <a:xfrm>
            <a:off x="4316414" y="4049033"/>
            <a:ext cx="341815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pulsion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etween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S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hepherds</a:t>
            </a:r>
            <a:endParaRPr kumimoji="0" lang="de-DE" sz="160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noProof="0" dirty="0">
                <a:solidFill>
                  <a:prstClr val="black"/>
                </a:solidFill>
              </a:rPr>
              <a:t>Repulsion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dirty="0">
                <a:solidFill>
                  <a:prstClr val="black"/>
                </a:solidFill>
              </a:rPr>
              <a:t>A</a:t>
            </a:r>
            <a:r>
              <a:rPr lang="de-DE" sz="1600" noProof="0" dirty="0" err="1">
                <a:solidFill>
                  <a:prstClr val="black"/>
                </a:solidFill>
              </a:rPr>
              <a:t>gent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a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sum</a:t>
            </a:r>
            <a:r>
              <a:rPr lang="de-DE" sz="1600" noProof="0" dirty="0">
                <a:solidFill>
                  <a:prstClr val="black"/>
                </a:solidFill>
              </a:rPr>
              <a:t> of </a:t>
            </a:r>
            <a:r>
              <a:rPr lang="de-DE" sz="1600" noProof="0" dirty="0" err="1">
                <a:solidFill>
                  <a:prstClr val="black"/>
                </a:solidFill>
              </a:rPr>
              <a:t>each</a:t>
            </a:r>
            <a:r>
              <a:rPr lang="de-DE" sz="1600" noProof="0" dirty="0">
                <a:solidFill>
                  <a:prstClr val="black"/>
                </a:solidFill>
              </a:rPr>
              <a:t> individual </a:t>
            </a:r>
            <a:r>
              <a:rPr lang="de-DE" sz="1600" noProof="0" dirty="0" err="1">
                <a:solidFill>
                  <a:prstClr val="black"/>
                </a:solidFill>
              </a:rPr>
              <a:t>shepherd‘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repulsion</a:t>
            </a:r>
            <a:endParaRPr lang="de-DE" sz="1600" noProof="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Grafik 2" descr="Hund mit einfarbiger Füllung">
            <a:extLst>
              <a:ext uri="{FF2B5EF4-FFF2-40B4-BE49-F238E27FC236}">
                <a16:creationId xmlns:a16="http://schemas.microsoft.com/office/drawing/2014/main" id="{7466CC84-5B50-EDCC-0B35-F392C74E27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78279" y="2169871"/>
            <a:ext cx="914400" cy="914400"/>
          </a:xfrm>
          <a:prstGeom prst="rect">
            <a:avLst/>
          </a:prstGeom>
        </p:spPr>
      </p:pic>
      <p:sp>
        <p:nvSpPr>
          <p:cNvPr id="4" name="Hexagon 74">
            <a:extLst>
              <a:ext uri="{FF2B5EF4-FFF2-40B4-BE49-F238E27FC236}">
                <a16:creationId xmlns:a16="http://schemas.microsoft.com/office/drawing/2014/main" id="{7DCC6D1D-BD84-B066-5FE4-B8CF7982AAB5}"/>
              </a:ext>
            </a:extLst>
          </p:cNvPr>
          <p:cNvSpPr/>
          <p:nvPr/>
        </p:nvSpPr>
        <p:spPr bwMode="gray">
          <a:xfrm>
            <a:off x="8460143" y="1534265"/>
            <a:ext cx="2337923" cy="1997710"/>
          </a:xfrm>
          <a:prstGeom prst="hexagon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2C75566-46F9-F8DE-FA80-D852E3F3829A}"/>
              </a:ext>
            </a:extLst>
          </p:cNvPr>
          <p:cNvSpPr/>
          <p:nvPr/>
        </p:nvSpPr>
        <p:spPr>
          <a:xfrm>
            <a:off x="10520672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Rectangle 78">
            <a:extLst>
              <a:ext uri="{FF2B5EF4-FFF2-40B4-BE49-F238E27FC236}">
                <a16:creationId xmlns:a16="http://schemas.microsoft.com/office/drawing/2014/main" id="{3A970D2A-E1D5-89DB-FABF-698B55331099}"/>
              </a:ext>
            </a:extLst>
          </p:cNvPr>
          <p:cNvSpPr/>
          <p:nvPr/>
        </p:nvSpPr>
        <p:spPr>
          <a:xfrm>
            <a:off x="9024674" y="1183055"/>
            <a:ext cx="26381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Comparison</a:t>
            </a:r>
            <a:r>
              <a:rPr lang="de-DE" sz="1600" b="1" noProof="0" dirty="0"/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Rectangle 79">
            <a:extLst>
              <a:ext uri="{FF2B5EF4-FFF2-40B4-BE49-F238E27FC236}">
                <a16:creationId xmlns:a16="http://schemas.microsoft.com/office/drawing/2014/main" id="{CC1F1408-F491-9157-88FB-DC0D89AB7B7D}"/>
              </a:ext>
            </a:extLst>
          </p:cNvPr>
          <p:cNvSpPr/>
          <p:nvPr/>
        </p:nvSpPr>
        <p:spPr>
          <a:xfrm>
            <a:off x="8153201" y="4049033"/>
            <a:ext cx="341815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mplementation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f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other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Model*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comparison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Shepherds </a:t>
            </a:r>
            <a:r>
              <a:rPr lang="de-DE" sz="1600" dirty="0" err="1">
                <a:solidFill>
                  <a:prstClr val="black"/>
                </a:solidFill>
              </a:rPr>
              <a:t>are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modeled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Agents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with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defined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movement</a:t>
            </a:r>
            <a:r>
              <a:rPr lang="de-DE" sz="1600" dirty="0">
                <a:solidFill>
                  <a:prstClr val="black"/>
                </a:solidFill>
              </a:rPr>
              <a:t> </a:t>
            </a:r>
            <a:r>
              <a:rPr lang="de-DE" sz="1600" dirty="0" err="1">
                <a:solidFill>
                  <a:prstClr val="black"/>
                </a:solidFill>
              </a:rPr>
              <a:t>functions</a:t>
            </a:r>
            <a:endParaRPr lang="de-DE" sz="16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0" name="Grafik 19" descr="Waage der Justitia mit einfarbiger Füllung">
            <a:extLst>
              <a:ext uri="{FF2B5EF4-FFF2-40B4-BE49-F238E27FC236}">
                <a16:creationId xmlns:a16="http://schemas.microsoft.com/office/drawing/2014/main" id="{30976525-8E2B-4A59-A593-B0F8405C24B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09186" y="1931930"/>
            <a:ext cx="1091460" cy="10914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884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5" grpId="0"/>
      <p:bldP spid="47" grpId="0"/>
      <p:bldP spid="48" grpId="0"/>
      <p:bldP spid="4" grpId="0" animBg="1"/>
      <p:bldP spid="17" grpId="0"/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3808036"/>
            <a:ext cx="2160000" cy="356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</a:t>
            </a: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319442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B7BA8FD-F597-8D95-1D1E-7023809ABE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2023567"/>
            <a:ext cx="3978607" cy="4263254"/>
          </a:xfrm>
          <a:prstGeom prst="rect">
            <a:avLst/>
          </a:prstGeom>
        </p:spPr>
      </p:pic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out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251448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91E0BA9-CF0C-9042-080F-AB774D64B1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225" y="2197362"/>
            <a:ext cx="4822215" cy="37888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8969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239311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One</a:t>
            </a:r>
            <a:r>
              <a:rPr lang="de-DE" sz="1600" b="1" noProof="0" dirty="0"/>
              <a:t> Shephe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7694834" y="1239311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Shepherds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652DF65-5688-7D71-70DA-EBDC8EBC81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3630" y="1617813"/>
            <a:ext cx="4707319" cy="461336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DCD2397-851B-356C-74BF-2FD79E572D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238" y="1602072"/>
            <a:ext cx="4753638" cy="46679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2820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Two</a:t>
            </a:r>
            <a:r>
              <a:rPr lang="de-DE" sz="2800" dirty="0"/>
              <a:t> Shepherd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8" name="two dogs">
            <a:hlinkClick r:id="" action="ppaction://media"/>
            <a:extLst>
              <a:ext uri="{FF2B5EF4-FFF2-40B4-BE49-F238E27FC236}">
                <a16:creationId xmlns:a16="http://schemas.microsoft.com/office/drawing/2014/main" id="{BF85C672-10F9-01EF-59D3-9007DA558174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38200"/>
            <a:ext cx="11277600" cy="5638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43230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534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genda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3763769"/>
            <a:ext cx="2160000" cy="4003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53565A"/>
                </a:solidFill>
                <a:latin typeface="Calibri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  <p:pic>
        <p:nvPicPr>
          <p:cNvPr id="40" name="Grafik 39" descr="Schaf mit einfarbiger Füllung">
            <a:extLst>
              <a:ext uri="{FF2B5EF4-FFF2-40B4-BE49-F238E27FC236}">
                <a16:creationId xmlns:a16="http://schemas.microsoft.com/office/drawing/2014/main" id="{8637FC9F-4280-7CD0-0049-DA65AF8B8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533" y="2070495"/>
            <a:ext cx="828000" cy="82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795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Video: </a:t>
            </a:r>
            <a:r>
              <a:rPr lang="de-DE" sz="2800" dirty="0" err="1"/>
              <a:t>Three</a:t>
            </a:r>
            <a:r>
              <a:rPr lang="de-DE" sz="2800" dirty="0"/>
              <a:t> Shepherds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F90E714-4E76-642B-E1C6-1220157283D2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139">
            <a:extLst>
              <a:ext uri="{FF2B5EF4-FFF2-40B4-BE49-F238E27FC236}">
                <a16:creationId xmlns:a16="http://schemas.microsoft.com/office/drawing/2014/main" id="{950F4A08-663E-0A87-E8AC-E2F6DFA4E07D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0" name="Teardrop 140">
              <a:extLst>
                <a:ext uri="{FF2B5EF4-FFF2-40B4-BE49-F238E27FC236}">
                  <a16:creationId xmlns:a16="http://schemas.microsoft.com/office/drawing/2014/main" id="{FDD57E79-ED58-19D8-5A77-2E7E232D0B54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39">
              <a:extLst>
                <a:ext uri="{FF2B5EF4-FFF2-40B4-BE49-F238E27FC236}">
                  <a16:creationId xmlns:a16="http://schemas.microsoft.com/office/drawing/2014/main" id="{A33BFC2A-73CB-1394-0184-097929942B71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2" name="Group 925">
              <a:extLst>
                <a:ext uri="{FF2B5EF4-FFF2-40B4-BE49-F238E27FC236}">
                  <a16:creationId xmlns:a16="http://schemas.microsoft.com/office/drawing/2014/main" id="{2D0F594B-12F7-33FD-1794-B14696632A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" name="Freeform 926">
                <a:extLst>
                  <a:ext uri="{FF2B5EF4-FFF2-40B4-BE49-F238E27FC236}">
                    <a16:creationId xmlns:a16="http://schemas.microsoft.com/office/drawing/2014/main" id="{32C125A4-199E-B125-ECFF-25A068ED1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27">
                <a:extLst>
                  <a:ext uri="{FF2B5EF4-FFF2-40B4-BE49-F238E27FC236}">
                    <a16:creationId xmlns:a16="http://schemas.microsoft.com/office/drawing/2014/main" id="{7909AB04-CC3B-2B9E-729C-B156BABE9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3" name="Oval 143">
              <a:extLst>
                <a:ext uri="{FF2B5EF4-FFF2-40B4-BE49-F238E27FC236}">
                  <a16:creationId xmlns:a16="http://schemas.microsoft.com/office/drawing/2014/main" id="{DE94224E-4490-15F4-15EF-98946BC4841A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Freeform 872">
            <a:extLst>
              <a:ext uri="{FF2B5EF4-FFF2-40B4-BE49-F238E27FC236}">
                <a16:creationId xmlns:a16="http://schemas.microsoft.com/office/drawing/2014/main" id="{46A1B3F3-2368-394B-1E44-31C9A5F67C95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2" name="three dogs">
            <a:hlinkClick r:id="" action="ppaction://media"/>
            <a:extLst>
              <a:ext uri="{FF2B5EF4-FFF2-40B4-BE49-F238E27FC236}">
                <a16:creationId xmlns:a16="http://schemas.microsoft.com/office/drawing/2014/main" id="{9DB2602E-49F6-C73B-B31D-A2A48CF14593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873760"/>
            <a:ext cx="11206480" cy="5603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56136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>
            <a:extLst>
              <a:ext uri="{FF2B5EF4-FFF2-40B4-BE49-F238E27FC236}">
                <a16:creationId xmlns:a16="http://schemas.microsoft.com/office/drawing/2014/main" id="{BC1F170A-C1EA-FFF8-BB02-715F56F7AF57}"/>
              </a:ext>
            </a:extLst>
          </p:cNvPr>
          <p:cNvSpPr/>
          <p:nvPr/>
        </p:nvSpPr>
        <p:spPr bwMode="gray">
          <a:xfrm>
            <a:off x="5120640" y="3028864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A2CA10"/>
              </a:gs>
              <a:gs pos="97000">
                <a:srgbClr val="2AFC4D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DAD8076-D9EE-8B8D-C8EA-9F35F7757DED}"/>
              </a:ext>
            </a:extLst>
          </p:cNvPr>
          <p:cNvSpPr/>
          <p:nvPr/>
        </p:nvSpPr>
        <p:spPr bwMode="gray">
          <a:xfrm>
            <a:off x="5120640" y="4035466"/>
            <a:ext cx="4685587" cy="1012088"/>
          </a:xfrm>
          <a:prstGeom prst="rect">
            <a:avLst/>
          </a:prstGeom>
          <a:gradFill flip="none" rotWithShape="1">
            <a:gsLst>
              <a:gs pos="24000">
                <a:srgbClr val="E3E48D"/>
              </a:gs>
              <a:gs pos="66000">
                <a:schemeClr val="accent1">
                  <a:lumMod val="60000"/>
                  <a:lumOff val="40000"/>
                </a:schemeClr>
              </a:gs>
              <a:gs pos="68000">
                <a:srgbClr val="F82705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1 </a:t>
            </a:r>
            <a:r>
              <a:rPr lang="de-DE" dirty="0" err="1"/>
              <a:t>vs</a:t>
            </a:r>
            <a:r>
              <a:rPr lang="de-DE" dirty="0"/>
              <a:t> 2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/>
              <a:t>3 </a:t>
            </a:r>
            <a:r>
              <a:rPr lang="de-DE" dirty="0"/>
              <a:t>S</a:t>
            </a:r>
            <a:r>
              <a:rPr lang="de-DE"/>
              <a:t>hepherds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r>
              <a:rPr lang="de-DE" sz="2800" dirty="0"/>
              <a:t>: </a:t>
            </a:r>
            <a:r>
              <a:rPr lang="de-DE" sz="2800" dirty="0" err="1"/>
              <a:t>Comparison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Timesteps</a:t>
            </a:r>
            <a:r>
              <a:rPr lang="de-DE" sz="2800" dirty="0"/>
              <a:t> </a:t>
            </a:r>
            <a:r>
              <a:rPr lang="de-DE" sz="2800" dirty="0" err="1"/>
              <a:t>needed</a:t>
            </a:r>
            <a:endParaRPr lang="de-DE" sz="2800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79E4657-C6FA-2985-8B14-14A361086668}"/>
              </a:ext>
            </a:extLst>
          </p:cNvPr>
          <p:cNvSpPr/>
          <p:nvPr/>
        </p:nvSpPr>
        <p:spPr bwMode="gray">
          <a:xfrm>
            <a:off x="5120640" y="5035886"/>
            <a:ext cx="4685587" cy="1012088"/>
          </a:xfrm>
          <a:prstGeom prst="rect">
            <a:avLst/>
          </a:prstGeom>
          <a:gradFill flip="none" rotWithShape="1">
            <a:gsLst>
              <a:gs pos="33000">
                <a:srgbClr val="E58912"/>
              </a:gs>
              <a:gs pos="66000">
                <a:srgbClr val="E94605"/>
              </a:gs>
              <a:gs pos="34000">
                <a:srgbClr val="F04D0A"/>
              </a:gs>
              <a:gs pos="67000">
                <a:srgbClr val="E1CA1F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710242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5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5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9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0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17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196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52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81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72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267BD4E-72A2-3ADE-2A89-BD42D600301C}"/>
              </a:ext>
            </a:extLst>
          </p:cNvPr>
          <p:cNvSpPr/>
          <p:nvPr/>
        </p:nvSpPr>
        <p:spPr bwMode="gray">
          <a:xfrm>
            <a:off x="8456327" y="1664038"/>
            <a:ext cx="2488971" cy="119911"/>
          </a:xfrm>
          <a:prstGeom prst="rect">
            <a:avLst/>
          </a:prstGeom>
          <a:gradFill>
            <a:gsLst>
              <a:gs pos="0">
                <a:srgbClr val="FF0000"/>
              </a:gs>
              <a:gs pos="79000">
                <a:srgbClr val="A2CA10"/>
              </a:gs>
              <a:gs pos="100000">
                <a:srgbClr val="2EFB4B"/>
              </a:gs>
              <a:gs pos="21000">
                <a:srgbClr val="E58812"/>
              </a:gs>
              <a:gs pos="40000">
                <a:srgbClr val="E1CA1F"/>
              </a:gs>
              <a:gs pos="58000">
                <a:srgbClr val="E3E48D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CFA98E93-7277-B4AD-22DB-6F9A6B47A870}"/>
              </a:ext>
            </a:extLst>
          </p:cNvPr>
          <p:cNvSpPr txBox="1"/>
          <p:nvPr/>
        </p:nvSpPr>
        <p:spPr>
          <a:xfrm>
            <a:off x="8456327" y="1416410"/>
            <a:ext cx="26009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>
                <a:solidFill>
                  <a:srgbClr val="313131"/>
                </a:solidFill>
              </a:rPr>
              <a:t>Color </a:t>
            </a:r>
            <a:r>
              <a:rPr lang="de-DE" sz="1400" dirty="0" err="1">
                <a:solidFill>
                  <a:srgbClr val="313131"/>
                </a:solidFill>
              </a:rPr>
              <a:t>coding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of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Timesteps</a:t>
            </a:r>
            <a:endParaRPr lang="de-DE" sz="1400" dirty="0">
              <a:solidFill>
                <a:srgbClr val="31313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051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>
            <a:extLst>
              <a:ext uri="{FF2B5EF4-FFF2-40B4-BE49-F238E27FC236}">
                <a16:creationId xmlns:a16="http://schemas.microsoft.com/office/drawing/2014/main" id="{0D4B750F-C264-E66F-63B5-6D6003313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4636" y="2841326"/>
            <a:ext cx="941082" cy="320664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?</a:t>
            </a:r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 err="1"/>
              <a:t>Results</a:t>
            </a:r>
            <a:r>
              <a:rPr lang="de-DE" sz="2800" dirty="0"/>
              <a:t>: </a:t>
            </a:r>
            <a:r>
              <a:rPr lang="de-DE" sz="2800"/>
              <a:t>Benchmark </a:t>
            </a:r>
            <a:r>
              <a:rPr lang="de-DE" sz="2800" dirty="0"/>
              <a:t>M</a:t>
            </a:r>
            <a:r>
              <a:rPr lang="de-DE" sz="2800"/>
              <a:t>odel</a:t>
            </a:r>
            <a:endParaRPr lang="de-DE" sz="2800" dirty="0"/>
          </a:p>
        </p:txBody>
      </p: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3275730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o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4317542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Muster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27220" y="5359353"/>
            <a:ext cx="2537939" cy="459886"/>
          </a:xfrm>
          <a:prstGeom prst="homePlate">
            <a:avLst/>
          </a:prstGeom>
          <a:solidFill>
            <a:srgbClr val="D0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>
                <a:solidFill>
                  <a:schemeClr val="tx1"/>
                </a:solidFill>
              </a:rPr>
              <a:t>Driving</a:t>
            </a:r>
            <a:endParaRPr lang="de-DE" sz="1300" dirty="0">
              <a:solidFill>
                <a:schemeClr val="tx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8FE64ED-0107-7E22-4BCA-1AF189D406E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39">
            <a:extLst>
              <a:ext uri="{FF2B5EF4-FFF2-40B4-BE49-F238E27FC236}">
                <a16:creationId xmlns:a16="http://schemas.microsoft.com/office/drawing/2014/main" id="{5A6CB482-743F-EAD7-41B8-EE152532F94C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20" name="Teardrop 140">
              <a:extLst>
                <a:ext uri="{FF2B5EF4-FFF2-40B4-BE49-F238E27FC236}">
                  <a16:creationId xmlns:a16="http://schemas.microsoft.com/office/drawing/2014/main" id="{0F1F44A4-20BE-83DB-A3C1-0F221790207B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693866EE-964D-8EB5-14FE-2CDCCB57311B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" name="Group 925">
              <a:extLst>
                <a:ext uri="{FF2B5EF4-FFF2-40B4-BE49-F238E27FC236}">
                  <a16:creationId xmlns:a16="http://schemas.microsoft.com/office/drawing/2014/main" id="{1CB637EA-EF7A-373D-C981-C951A6AFC7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30" name="Freeform 926">
                <a:extLst>
                  <a:ext uri="{FF2B5EF4-FFF2-40B4-BE49-F238E27FC236}">
                    <a16:creationId xmlns:a16="http://schemas.microsoft.com/office/drawing/2014/main" id="{A4BE77FB-28F4-ADD6-440A-65A0DB6F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1" name="Freeform 927">
                <a:extLst>
                  <a:ext uri="{FF2B5EF4-FFF2-40B4-BE49-F238E27FC236}">
                    <a16:creationId xmlns:a16="http://schemas.microsoft.com/office/drawing/2014/main" id="{009D7C5C-DFFA-74BC-03FD-03052B0EE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9BBCF865-AD7C-0794-A1A1-B40C6D9E4567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2" name="Freeform 872">
            <a:extLst>
              <a:ext uri="{FF2B5EF4-FFF2-40B4-BE49-F238E27FC236}">
                <a16:creationId xmlns:a16="http://schemas.microsoft.com/office/drawing/2014/main" id="{970A4700-F107-A541-3352-5B3A16A6EB8B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F0960C92-D203-623C-433A-A44A11A3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6364391"/>
              </p:ext>
            </p:extLst>
          </p:nvPr>
        </p:nvGraphicFramePr>
        <p:xfrm>
          <a:off x="3555067" y="2022958"/>
          <a:ext cx="6251160" cy="4025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790">
                  <a:extLst>
                    <a:ext uri="{9D8B030D-6E8A-4147-A177-3AD203B41FA5}">
                      <a16:colId xmlns:a16="http://schemas.microsoft.com/office/drawing/2014/main" val="1574198244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404193782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847343093"/>
                    </a:ext>
                  </a:extLst>
                </a:gridCol>
                <a:gridCol w="1562790">
                  <a:extLst>
                    <a:ext uri="{9D8B030D-6E8A-4147-A177-3AD203B41FA5}">
                      <a16:colId xmlns:a16="http://schemas.microsoft.com/office/drawing/2014/main" val="3619854304"/>
                    </a:ext>
                  </a:extLst>
                </a:gridCol>
              </a:tblGrid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45188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7749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581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3421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6286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986</a:t>
                      </a:r>
                    </a:p>
                  </a:txBody>
                  <a:tcPr anchor="ctr">
                    <a:solidFill>
                      <a:srgbClr val="93F3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5929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861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291851"/>
                  </a:ext>
                </a:extLst>
              </a:tr>
              <a:tr h="1006254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23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322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186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81071"/>
                  </a:ext>
                </a:extLst>
              </a:tr>
            </a:tbl>
          </a:graphicData>
        </a:graphic>
      </p:graphicFrame>
      <p:pic>
        <p:nvPicPr>
          <p:cNvPr id="41" name="Grafik 40" descr="Hund mit einfarbiger Füllung">
            <a:extLst>
              <a:ext uri="{FF2B5EF4-FFF2-40B4-BE49-F238E27FC236}">
                <a16:creationId xmlns:a16="http://schemas.microsoft.com/office/drawing/2014/main" id="{4D30C6DD-ACFB-4149-2127-2E516D9ABF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446" y="2208327"/>
            <a:ext cx="541266" cy="541266"/>
          </a:xfrm>
          <a:prstGeom prst="rect">
            <a:avLst/>
          </a:prstGeom>
        </p:spPr>
      </p:pic>
      <p:pic>
        <p:nvPicPr>
          <p:cNvPr id="42" name="Grafik 41" descr="Hund mit einfarbiger Füllung">
            <a:extLst>
              <a:ext uri="{FF2B5EF4-FFF2-40B4-BE49-F238E27FC236}">
                <a16:creationId xmlns:a16="http://schemas.microsoft.com/office/drawing/2014/main" id="{523CB1A2-EA05-60BA-B311-F81E012DA0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0046" y="2423230"/>
            <a:ext cx="541266" cy="541266"/>
          </a:xfrm>
          <a:prstGeom prst="rect">
            <a:avLst/>
          </a:prstGeom>
        </p:spPr>
      </p:pic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8C065F5E-6C79-E403-3572-866CCA128B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2487" y="2195766"/>
            <a:ext cx="541266" cy="541266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3361F99-43AA-90B8-B8AC-BD2AD3965E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13886" y="2398796"/>
            <a:ext cx="541266" cy="541266"/>
          </a:xfrm>
          <a:prstGeom prst="rect">
            <a:avLst/>
          </a:prstGeom>
        </p:spPr>
      </p:pic>
      <p:pic>
        <p:nvPicPr>
          <p:cNvPr id="45" name="Grafik 44" descr="Hund mit einfarbiger Füllung">
            <a:extLst>
              <a:ext uri="{FF2B5EF4-FFF2-40B4-BE49-F238E27FC236}">
                <a16:creationId xmlns:a16="http://schemas.microsoft.com/office/drawing/2014/main" id="{5EE5F210-47EE-E0D0-EE7C-D9BB555327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56327" y="2171332"/>
            <a:ext cx="541266" cy="541266"/>
          </a:xfrm>
          <a:prstGeom prst="rect">
            <a:avLst/>
          </a:prstGeom>
        </p:spPr>
      </p:pic>
      <p:pic>
        <p:nvPicPr>
          <p:cNvPr id="46" name="Grafik 45" descr="Hund mit einfarbiger Füllung">
            <a:extLst>
              <a:ext uri="{FF2B5EF4-FFF2-40B4-BE49-F238E27FC236}">
                <a16:creationId xmlns:a16="http://schemas.microsoft.com/office/drawing/2014/main" id="{662ABEA6-B4EF-E359-3A5B-4A59F367C1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44027" y="2059740"/>
            <a:ext cx="541266" cy="541266"/>
          </a:xfrm>
          <a:prstGeom prst="rect">
            <a:avLst/>
          </a:prstGeom>
        </p:spPr>
      </p:pic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B7B1C97C-7F41-F325-6921-3BF648F30A26}"/>
              </a:ext>
            </a:extLst>
          </p:cNvPr>
          <p:cNvCxnSpPr/>
          <p:nvPr/>
        </p:nvCxnSpPr>
        <p:spPr>
          <a:xfrm flipH="1" flipV="1">
            <a:off x="3556000" y="2059740"/>
            <a:ext cx="1564640" cy="969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CD9AECF1-CCEC-828F-C56A-6F2C33C82C55}"/>
              </a:ext>
            </a:extLst>
          </p:cNvPr>
          <p:cNvSpPr txBox="1"/>
          <p:nvPr/>
        </p:nvSpPr>
        <p:spPr>
          <a:xfrm>
            <a:off x="3709531" y="2617244"/>
            <a:ext cx="8735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Strategy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35820D26-7DB9-6D10-0E15-E1E1BEBC52B3}"/>
              </a:ext>
            </a:extLst>
          </p:cNvPr>
          <p:cNvSpPr txBox="1"/>
          <p:nvPr/>
        </p:nvSpPr>
        <p:spPr>
          <a:xfrm>
            <a:off x="4293517" y="2086385"/>
            <a:ext cx="8735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Number</a:t>
            </a:r>
            <a:r>
              <a:rPr lang="de-DE" sz="1400" dirty="0">
                <a:solidFill>
                  <a:srgbClr val="313131"/>
                </a:solidFill>
              </a:rPr>
              <a:t> Shepherds</a:t>
            </a:r>
          </a:p>
        </p:txBody>
      </p:sp>
      <p:sp>
        <p:nvSpPr>
          <p:cNvPr id="60" name="Flussdiagramm: Verbinder 59">
            <a:extLst>
              <a:ext uri="{FF2B5EF4-FFF2-40B4-BE49-F238E27FC236}">
                <a16:creationId xmlns:a16="http://schemas.microsoft.com/office/drawing/2014/main" id="{5BF6908B-AE1C-2A03-E669-E4430981B393}"/>
              </a:ext>
            </a:extLst>
          </p:cNvPr>
          <p:cNvSpPr/>
          <p:nvPr/>
        </p:nvSpPr>
        <p:spPr bwMode="gray">
          <a:xfrm>
            <a:off x="10698827" y="4268918"/>
            <a:ext cx="822613" cy="822613"/>
          </a:xfrm>
          <a:prstGeom prst="flowChartConnector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4A3C6C4-2B6D-ECC1-AA5F-B8ECB63405D0}"/>
              </a:ext>
            </a:extLst>
          </p:cNvPr>
          <p:cNvSpPr txBox="1"/>
          <p:nvPr/>
        </p:nvSpPr>
        <p:spPr>
          <a:xfrm>
            <a:off x="8997593" y="1406446"/>
            <a:ext cx="26009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1400" dirty="0" err="1">
                <a:solidFill>
                  <a:srgbClr val="313131"/>
                </a:solidFill>
              </a:rPr>
              <a:t>Our</a:t>
            </a:r>
            <a:r>
              <a:rPr lang="de-DE" sz="1400" dirty="0">
                <a:solidFill>
                  <a:srgbClr val="313131"/>
                </a:solidFill>
              </a:rPr>
              <a:t> model </a:t>
            </a:r>
            <a:r>
              <a:rPr lang="de-DE" sz="1400" dirty="0" err="1">
                <a:solidFill>
                  <a:srgbClr val="313131"/>
                </a:solidFill>
              </a:rPr>
              <a:t>performed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better</a:t>
            </a:r>
            <a:br>
              <a:rPr lang="de-DE" sz="1400" dirty="0">
                <a:solidFill>
                  <a:srgbClr val="313131"/>
                </a:solidFill>
              </a:rPr>
            </a:br>
            <a:r>
              <a:rPr lang="de-DE" sz="1400" dirty="0" err="1">
                <a:solidFill>
                  <a:srgbClr val="313131"/>
                </a:solidFill>
              </a:rPr>
              <a:t>Our</a:t>
            </a:r>
            <a:r>
              <a:rPr lang="de-DE" sz="1400" dirty="0">
                <a:solidFill>
                  <a:srgbClr val="313131"/>
                </a:solidFill>
              </a:rPr>
              <a:t> model </a:t>
            </a:r>
            <a:r>
              <a:rPr lang="de-DE" sz="1400" dirty="0" err="1">
                <a:solidFill>
                  <a:srgbClr val="313131"/>
                </a:solidFill>
              </a:rPr>
              <a:t>performed</a:t>
            </a:r>
            <a:r>
              <a:rPr lang="de-DE" sz="1400" dirty="0">
                <a:solidFill>
                  <a:srgbClr val="313131"/>
                </a:solidFill>
              </a:rPr>
              <a:t> </a:t>
            </a:r>
            <a:r>
              <a:rPr lang="de-DE" sz="1400" dirty="0" err="1">
                <a:solidFill>
                  <a:srgbClr val="313131"/>
                </a:solidFill>
              </a:rPr>
              <a:t>worse</a:t>
            </a:r>
            <a:endParaRPr lang="de-DE" sz="1400" dirty="0">
              <a:solidFill>
                <a:srgbClr val="31313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6DC9B68-5BCD-C791-A9F4-7613A2F71031}"/>
              </a:ext>
            </a:extLst>
          </p:cNvPr>
          <p:cNvSpPr/>
          <p:nvPr/>
        </p:nvSpPr>
        <p:spPr bwMode="gray">
          <a:xfrm>
            <a:off x="8550674" y="1448172"/>
            <a:ext cx="352572" cy="119911"/>
          </a:xfrm>
          <a:prstGeom prst="rect">
            <a:avLst/>
          </a:prstGeom>
          <a:solidFill>
            <a:srgbClr val="93F37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3B47EB7-72E8-F452-B182-6979747A420C}"/>
              </a:ext>
            </a:extLst>
          </p:cNvPr>
          <p:cNvSpPr/>
          <p:nvPr/>
        </p:nvSpPr>
        <p:spPr bwMode="gray">
          <a:xfrm>
            <a:off x="8555053" y="1679675"/>
            <a:ext cx="352572" cy="119911"/>
          </a:xfrm>
          <a:prstGeom prst="rect">
            <a:avLst/>
          </a:prstGeom>
          <a:solidFill>
            <a:srgbClr val="FFCD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2156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831B5BC1-6DBF-5E61-D323-7FCBB80D95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3394496"/>
              </p:ext>
            </p:extLst>
          </p:nvPr>
        </p:nvGraphicFramePr>
        <p:xfrm>
          <a:off x="1665635" y="104597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happe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Goals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F6C19517-E12D-4B2E-EA34-31DD377897DF}"/>
              </a:ext>
            </a:extLst>
          </p:cNvPr>
          <p:cNvSpPr/>
          <p:nvPr/>
        </p:nvSpPr>
        <p:spPr>
          <a:xfrm>
            <a:off x="5235661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>
            <a:gsLst>
              <a:gs pos="27000">
                <a:schemeClr val="bg2"/>
              </a:gs>
              <a:gs pos="90000">
                <a:srgbClr val="43B02A"/>
              </a:gs>
            </a:gsLst>
            <a:lin ang="16200000" scaled="1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Recreate</a:t>
            </a:r>
            <a:r>
              <a:rPr lang="de-DE" sz="1800" kern="1200" dirty="0"/>
              <a:t> Code in C++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AA00532D-5D4E-4514-4537-AAF5A584F476}"/>
              </a:ext>
            </a:extLst>
          </p:cNvPr>
          <p:cNvSpPr/>
          <p:nvPr/>
        </p:nvSpPr>
        <p:spPr>
          <a:xfrm>
            <a:off x="3109140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Understand</a:t>
            </a:r>
            <a:r>
              <a:rPr lang="de-DE" sz="1800" kern="1200" dirty="0"/>
              <a:t> </a:t>
            </a:r>
            <a:r>
              <a:rPr lang="de-DE" sz="1800" kern="1200" dirty="0" err="1"/>
              <a:t>Codebase</a:t>
            </a:r>
            <a:endParaRPr lang="de-DE" sz="1800" kern="12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65AA628-5FFC-E784-F24E-FE598F2F3E8B}"/>
              </a:ext>
            </a:extLst>
          </p:cNvPr>
          <p:cNvSpPr/>
          <p:nvPr/>
        </p:nvSpPr>
        <p:spPr>
          <a:xfrm>
            <a:off x="4174089" y="3554248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74678" tIns="420418" rIns="374679" bIns="42041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Add multiple </a:t>
            </a:r>
            <a:r>
              <a:rPr lang="de-DE" dirty="0"/>
              <a:t>S</a:t>
            </a:r>
            <a:r>
              <a:rPr lang="de-DE" sz="1800" kern="1200" dirty="0"/>
              <a:t>hepherds and </a:t>
            </a:r>
            <a:r>
              <a:rPr lang="de-DE" dirty="0"/>
              <a:t>F</a:t>
            </a:r>
            <a:r>
              <a:rPr lang="de-DE" sz="1800" kern="1200" dirty="0"/>
              <a:t>enc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63DDD65-06EF-24AA-B8A7-F1B27D30BCE7}"/>
              </a:ext>
            </a:extLst>
          </p:cNvPr>
          <p:cNvSpPr/>
          <p:nvPr/>
        </p:nvSpPr>
        <p:spPr>
          <a:xfrm>
            <a:off x="6813524" y="3762320"/>
            <a:ext cx="243840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DAE163D-89CF-8515-9591-E8C0A07B01F2}"/>
              </a:ext>
            </a:extLst>
          </p:cNvPr>
          <p:cNvSpPr/>
          <p:nvPr/>
        </p:nvSpPr>
        <p:spPr>
          <a:xfrm>
            <a:off x="6311006" y="3601964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gradFill flip="none" rotWithShape="1">
            <a:gsLst>
              <a:gs pos="23000">
                <a:schemeClr val="bg2"/>
              </a:gs>
              <a:gs pos="57000">
                <a:srgbClr val="43B02A"/>
              </a:gs>
            </a:gsLst>
            <a:lin ang="16200000" scaled="1"/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/>
              <a:t>Find </a:t>
            </a:r>
            <a:r>
              <a:rPr lang="de-DE" sz="1800" kern="1200" dirty="0" err="1"/>
              <a:t>best</a:t>
            </a:r>
            <a:r>
              <a:rPr lang="de-DE" sz="1800" kern="1200" dirty="0"/>
              <a:t> </a:t>
            </a:r>
            <a:r>
              <a:rPr lang="de-DE" dirty="0"/>
              <a:t>P</a:t>
            </a:r>
            <a:r>
              <a:rPr lang="de-DE" sz="1800" kern="1200" dirty="0"/>
              <a:t>arameters</a:t>
            </a: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9563B150-C396-D374-0A19-08880394CB83}"/>
              </a:ext>
            </a:extLst>
          </p:cNvPr>
          <p:cNvSpPr/>
          <p:nvPr/>
        </p:nvSpPr>
        <p:spPr>
          <a:xfrm>
            <a:off x="7368934" y="1684007"/>
            <a:ext cx="1964267" cy="2257778"/>
          </a:xfrm>
          <a:custGeom>
            <a:avLst/>
            <a:gdLst>
              <a:gd name="connsiteX0" fmla="*/ 0 w 2257777"/>
              <a:gd name="connsiteY0" fmla="*/ 982133 h 1964266"/>
              <a:gd name="connsiteX1" fmla="*/ 491067 w 2257777"/>
              <a:gd name="connsiteY1" fmla="*/ 0 h 1964266"/>
              <a:gd name="connsiteX2" fmla="*/ 1766711 w 2257777"/>
              <a:gd name="connsiteY2" fmla="*/ 0 h 1964266"/>
              <a:gd name="connsiteX3" fmla="*/ 2257777 w 2257777"/>
              <a:gd name="connsiteY3" fmla="*/ 982133 h 1964266"/>
              <a:gd name="connsiteX4" fmla="*/ 1766711 w 2257777"/>
              <a:gd name="connsiteY4" fmla="*/ 1964266 h 1964266"/>
              <a:gd name="connsiteX5" fmla="*/ 491067 w 2257777"/>
              <a:gd name="connsiteY5" fmla="*/ 1964266 h 1964266"/>
              <a:gd name="connsiteX6" fmla="*/ 0 w 2257777"/>
              <a:gd name="connsiteY6" fmla="*/ 982133 h 196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57777" h="1964266">
                <a:moveTo>
                  <a:pt x="1128889" y="0"/>
                </a:moveTo>
                <a:lnTo>
                  <a:pt x="2257776" y="427229"/>
                </a:lnTo>
                <a:lnTo>
                  <a:pt x="2257776" y="1537038"/>
                </a:lnTo>
                <a:lnTo>
                  <a:pt x="1128889" y="1964266"/>
                </a:lnTo>
                <a:lnTo>
                  <a:pt x="1" y="1537038"/>
                </a:lnTo>
                <a:lnTo>
                  <a:pt x="1" y="427229"/>
                </a:lnTo>
                <a:lnTo>
                  <a:pt x="1128889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6098" tIns="351838" rIns="306099" bIns="35183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800" kern="1200" dirty="0" err="1"/>
              <a:t>Compare</a:t>
            </a:r>
            <a:r>
              <a:rPr lang="de-DE" sz="1800" kern="1200" dirty="0"/>
              <a:t> </a:t>
            </a:r>
            <a:r>
              <a:rPr lang="de-DE" sz="1800" kern="1200" dirty="0" err="1"/>
              <a:t>to</a:t>
            </a:r>
            <a:r>
              <a:rPr lang="de-DE" sz="1800" kern="1200" dirty="0"/>
              <a:t> Benchmark- </a:t>
            </a:r>
            <a:r>
              <a:rPr lang="de-DE" dirty="0"/>
              <a:t>M</a:t>
            </a:r>
            <a:r>
              <a:rPr lang="de-DE" sz="1800" kern="1200" dirty="0"/>
              <a:t>odel</a:t>
            </a:r>
          </a:p>
        </p:txBody>
      </p:sp>
    </p:spTree>
    <p:extLst>
      <p:ext uri="{BB962C8B-B14F-4D97-AF65-F5344CB8AC3E}">
        <p14:creationId xmlns:p14="http://schemas.microsoft.com/office/powerpoint/2010/main" val="115096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6" grpId="0" animBg="1"/>
      <p:bldP spid="28" grpId="0" animBg="1"/>
      <p:bldP spid="2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Biggest</a:t>
            </a:r>
            <a:r>
              <a:rPr lang="de-DE" dirty="0"/>
              <a:t> Challenges 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31" name="Rectangle 78">
            <a:extLst>
              <a:ext uri="{FF2B5EF4-FFF2-40B4-BE49-F238E27FC236}">
                <a16:creationId xmlns:a16="http://schemas.microsoft.com/office/drawing/2014/main" id="{32CEC5B8-DDC6-BAA1-245F-8A8926BBF8F2}"/>
              </a:ext>
            </a:extLst>
          </p:cNvPr>
          <p:cNvSpPr/>
          <p:nvPr/>
        </p:nvSpPr>
        <p:spPr>
          <a:xfrm>
            <a:off x="632586" y="1775662"/>
            <a:ext cx="24051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ing 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2466879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2397A5F0-0AC7-7E1D-CBB0-BCEDE755AFFF}"/>
              </a:ext>
            </a:extLst>
          </p:cNvPr>
          <p:cNvGrpSpPr/>
          <p:nvPr/>
        </p:nvGrpSpPr>
        <p:grpSpPr>
          <a:xfrm>
            <a:off x="955536" y="4587978"/>
            <a:ext cx="1703073" cy="2786208"/>
            <a:chOff x="955536" y="4587978"/>
            <a:chExt cx="1703073" cy="2786208"/>
          </a:xfrm>
        </p:grpSpPr>
        <p:grpSp>
          <p:nvGrpSpPr>
            <p:cNvPr id="47" name="Group 52">
              <a:extLst>
                <a:ext uri="{FF2B5EF4-FFF2-40B4-BE49-F238E27FC236}">
                  <a16:creationId xmlns:a16="http://schemas.microsoft.com/office/drawing/2014/main" id="{FC143D0D-E694-49B5-B47F-9A5BBFA66612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48" name="Rectangle 53">
                <a:extLst>
                  <a:ext uri="{FF2B5EF4-FFF2-40B4-BE49-F238E27FC236}">
                    <a16:creationId xmlns:a16="http://schemas.microsoft.com/office/drawing/2014/main" id="{31985CC6-F3E9-2BA3-6719-EA64A2F89E3F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9" name="Oval 55">
                <a:extLst>
                  <a:ext uri="{FF2B5EF4-FFF2-40B4-BE49-F238E27FC236}">
                    <a16:creationId xmlns:a16="http://schemas.microsoft.com/office/drawing/2014/main" id="{729729EE-E3EB-D38F-5E85-ED0B7B16C4E3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0" name="Oval 60">
                <a:extLst>
                  <a:ext uri="{FF2B5EF4-FFF2-40B4-BE49-F238E27FC236}">
                    <a16:creationId xmlns:a16="http://schemas.microsoft.com/office/drawing/2014/main" id="{DB307EA9-317E-2F43-9C94-66EDF499BBD6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51" name="Rectangle 61">
                <a:extLst>
                  <a:ext uri="{FF2B5EF4-FFF2-40B4-BE49-F238E27FC236}">
                    <a16:creationId xmlns:a16="http://schemas.microsoft.com/office/drawing/2014/main" id="{77585DEE-E8AC-A124-C749-F999FE301092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60" name="Grafik 59" descr="Schraubenschlüssel mit einfarbiger Füllung">
              <a:extLst>
                <a:ext uri="{FF2B5EF4-FFF2-40B4-BE49-F238E27FC236}">
                  <a16:creationId xmlns:a16="http://schemas.microsoft.com/office/drawing/2014/main" id="{01ED36FC-7AF6-8FAA-23B9-699C0167B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62" name="Grafik 61" descr="Zahnräder mit einfarbiger Füllung">
              <a:extLst>
                <a:ext uri="{FF2B5EF4-FFF2-40B4-BE49-F238E27FC236}">
                  <a16:creationId xmlns:a16="http://schemas.microsoft.com/office/drawing/2014/main" id="{445EC500-F8AF-E1D9-FFBF-8F16BFC53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3127899"/>
            <a:ext cx="5415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nderstand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ithout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proper </a:t>
            </a:r>
            <a:r>
              <a:rPr lang="de-DE" dirty="0"/>
              <a:t>D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cumentation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5114587"/>
            <a:ext cx="54151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aking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he</a:t>
            </a: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ode </a:t>
            </a:r>
            <a:r>
              <a:rPr kumimoji="0" lang="de-DE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work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</a:t>
            </a:r>
            <a:r>
              <a:rPr lang="de-DE" dirty="0" err="1"/>
              <a:t>leaning</a:t>
            </a:r>
            <a:r>
              <a:rPr lang="de-DE" dirty="0"/>
              <a:t> and </a:t>
            </a:r>
            <a:r>
              <a:rPr lang="de-DE" dirty="0" err="1"/>
              <a:t>adjusting</a:t>
            </a:r>
            <a:r>
              <a:rPr lang="de-DE" dirty="0"/>
              <a:t> </a:t>
            </a:r>
            <a:r>
              <a:rPr lang="de-DE" dirty="0" err="1"/>
              <a:t>it</a:t>
            </a:r>
            <a:endParaRPr kumimoji="0" lang="de-DE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10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rap </a:t>
            </a:r>
            <a:r>
              <a:rPr lang="de-DE" sz="2800" dirty="0" err="1"/>
              <a:t>up</a:t>
            </a:r>
            <a:r>
              <a:rPr lang="de-DE" sz="2800" dirty="0"/>
              <a:t>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do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differently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>
            <a:grpSpLocks noChangeAspect="1"/>
          </p:cNvGrpSpPr>
          <p:nvPr/>
        </p:nvGrpSpPr>
        <p:grpSpPr>
          <a:xfrm>
            <a:off x="955538" y="2799498"/>
            <a:ext cx="883896" cy="1446044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5" name="Freeform 542">
              <a:extLst>
                <a:ext uri="{FF2B5EF4-FFF2-40B4-BE49-F238E27FC236}">
                  <a16:creationId xmlns:a16="http://schemas.microsoft.com/office/drawing/2014/main" id="{579C312E-5A98-9292-4E94-C37BDD9F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4153" y="2459432"/>
              <a:ext cx="482072" cy="772637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ipsum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dolo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si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de-DE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E4587D49-D35A-D58A-ADB3-DDA171F4E6A7}"/>
              </a:ext>
            </a:extLst>
          </p:cNvPr>
          <p:cNvSpPr/>
          <p:nvPr/>
        </p:nvSpPr>
        <p:spPr bwMode="gray">
          <a:xfrm>
            <a:off x="2339163" y="3429000"/>
            <a:ext cx="1786270" cy="563968"/>
          </a:xfrm>
          <a:prstGeom prst="rightArrow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113A6B5-89EA-B557-0813-6D3CB31DF68C}"/>
              </a:ext>
            </a:extLst>
          </p:cNvPr>
          <p:cNvSpPr txBox="1"/>
          <p:nvPr/>
        </p:nvSpPr>
        <p:spPr>
          <a:xfrm>
            <a:off x="5937637" y="3375023"/>
            <a:ext cx="481475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Implement the Model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cratch</a:t>
            </a:r>
            <a:endParaRPr lang="de-DE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Original Repository </a:t>
            </a:r>
            <a:r>
              <a:rPr lang="de-DE" dirty="0" err="1">
                <a:solidFill>
                  <a:srgbClr val="313131"/>
                </a:solidFill>
              </a:rPr>
              <a:t>only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s</a:t>
            </a:r>
            <a:r>
              <a:rPr lang="de-DE" dirty="0">
                <a:solidFill>
                  <a:srgbClr val="313131"/>
                </a:solidFill>
              </a:rPr>
              <a:t> Template/Inspiration</a:t>
            </a:r>
          </a:p>
        </p:txBody>
      </p:sp>
      <p:sp>
        <p:nvSpPr>
          <p:cNvPr id="18" name="Rectangle 30">
            <a:extLst>
              <a:ext uri="{FF2B5EF4-FFF2-40B4-BE49-F238E27FC236}">
                <a16:creationId xmlns:a16="http://schemas.microsoft.com/office/drawing/2014/main" id="{48CEA55B-5D29-9F22-AF3F-A23749500348}"/>
              </a:ext>
            </a:extLst>
          </p:cNvPr>
          <p:cNvSpPr/>
          <p:nvPr/>
        </p:nvSpPr>
        <p:spPr>
          <a:xfrm>
            <a:off x="4447922" y="4515791"/>
            <a:ext cx="836406" cy="228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Lorem ipsum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Oval 31">
            <a:extLst>
              <a:ext uri="{FF2B5EF4-FFF2-40B4-BE49-F238E27FC236}">
                <a16:creationId xmlns:a16="http://schemas.microsoft.com/office/drawing/2014/main" id="{135CE7F2-119A-24D6-0B17-619932018F6F}"/>
              </a:ext>
            </a:extLst>
          </p:cNvPr>
          <p:cNvSpPr/>
          <p:nvPr/>
        </p:nvSpPr>
        <p:spPr bwMode="gray">
          <a:xfrm>
            <a:off x="4360230" y="2991485"/>
            <a:ext cx="1404621" cy="1401717"/>
          </a:xfrm>
          <a:prstGeom prst="ellipse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Oval 37">
            <a:extLst>
              <a:ext uri="{FF2B5EF4-FFF2-40B4-BE49-F238E27FC236}">
                <a16:creationId xmlns:a16="http://schemas.microsoft.com/office/drawing/2014/main" id="{B60DB0CE-956B-2C87-0AC4-46B6740C3DF1}"/>
              </a:ext>
            </a:extLst>
          </p:cNvPr>
          <p:cNvSpPr/>
          <p:nvPr/>
        </p:nvSpPr>
        <p:spPr bwMode="gray">
          <a:xfrm>
            <a:off x="4519908" y="3150833"/>
            <a:ext cx="1085264" cy="108302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3" name="Grafik 15" descr="Architektur Silhouette">
            <a:extLst>
              <a:ext uri="{FF2B5EF4-FFF2-40B4-BE49-F238E27FC236}">
                <a16:creationId xmlns:a16="http://schemas.microsoft.com/office/drawing/2014/main" id="{CA29AD39-4B29-297D-813A-80583372E5CC}"/>
              </a:ext>
            </a:extLst>
          </p:cNvPr>
          <p:cNvGrpSpPr/>
          <p:nvPr/>
        </p:nvGrpSpPr>
        <p:grpSpPr>
          <a:xfrm>
            <a:off x="4697695" y="3368264"/>
            <a:ext cx="809970" cy="582879"/>
            <a:chOff x="4984741" y="3120746"/>
            <a:chExt cx="838153" cy="629325"/>
          </a:xfrm>
          <a:solidFill>
            <a:srgbClr val="009A44"/>
          </a:solidFill>
        </p:grpSpPr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3F95F681-D5F3-952F-2BAA-FED8EA7BAAAD}"/>
                </a:ext>
              </a:extLst>
            </p:cNvPr>
            <p:cNvSpPr/>
            <p:nvPr/>
          </p:nvSpPr>
          <p:spPr>
            <a:xfrm>
              <a:off x="4984741" y="3140472"/>
              <a:ext cx="638174" cy="609600"/>
            </a:xfrm>
            <a:custGeom>
              <a:avLst/>
              <a:gdLst>
                <a:gd name="connsiteX0" fmla="*/ 619125 w 638174"/>
                <a:gd name="connsiteY0" fmla="*/ 590550 h 609600"/>
                <a:gd name="connsiteX1" fmla="*/ 57150 w 638174"/>
                <a:gd name="connsiteY1" fmla="*/ 590550 h 609600"/>
                <a:gd name="connsiteX2" fmla="*/ 19050 w 638174"/>
                <a:gd name="connsiteY2" fmla="*/ 552450 h 609600"/>
                <a:gd name="connsiteX3" fmla="*/ 57150 w 638174"/>
                <a:gd name="connsiteY3" fmla="*/ 514350 h 609600"/>
                <a:gd name="connsiteX4" fmla="*/ 133350 w 638174"/>
                <a:gd name="connsiteY4" fmla="*/ 514350 h 609600"/>
                <a:gd name="connsiteX5" fmla="*/ 133350 w 638174"/>
                <a:gd name="connsiteY5" fmla="*/ 114300 h 609600"/>
                <a:gd name="connsiteX6" fmla="*/ 603885 w 638174"/>
                <a:gd name="connsiteY6" fmla="*/ 114300 h 609600"/>
                <a:gd name="connsiteX7" fmla="*/ 622935 w 638174"/>
                <a:gd name="connsiteY7" fmla="*/ 95250 h 609600"/>
                <a:gd name="connsiteX8" fmla="*/ 133350 w 638174"/>
                <a:gd name="connsiteY8" fmla="*/ 95250 h 609600"/>
                <a:gd name="connsiteX9" fmla="*/ 133350 w 638174"/>
                <a:gd name="connsiteY9" fmla="*/ 0 h 609600"/>
                <a:gd name="connsiteX10" fmla="*/ 57150 w 638174"/>
                <a:gd name="connsiteY10" fmla="*/ 0 h 609600"/>
                <a:gd name="connsiteX11" fmla="*/ 0 w 638174"/>
                <a:gd name="connsiteY11" fmla="*/ 57150 h 609600"/>
                <a:gd name="connsiteX12" fmla="*/ 0 w 638174"/>
                <a:gd name="connsiteY12" fmla="*/ 552450 h 609600"/>
                <a:gd name="connsiteX13" fmla="*/ 57150 w 638174"/>
                <a:gd name="connsiteY13" fmla="*/ 609600 h 609600"/>
                <a:gd name="connsiteX14" fmla="*/ 638175 w 638174"/>
                <a:gd name="connsiteY14" fmla="*/ 609600 h 609600"/>
                <a:gd name="connsiteX15" fmla="*/ 638175 w 638174"/>
                <a:gd name="connsiteY15" fmla="*/ 280816 h 609600"/>
                <a:gd name="connsiteX16" fmla="*/ 619125 w 638174"/>
                <a:gd name="connsiteY16" fmla="*/ 299866 h 609600"/>
                <a:gd name="connsiteX17" fmla="*/ 19050 w 638174"/>
                <a:gd name="connsiteY17" fmla="*/ 57150 h 609600"/>
                <a:gd name="connsiteX18" fmla="*/ 57150 w 638174"/>
                <a:gd name="connsiteY18" fmla="*/ 19050 h 609600"/>
                <a:gd name="connsiteX19" fmla="*/ 114300 w 638174"/>
                <a:gd name="connsiteY19" fmla="*/ 19050 h 609600"/>
                <a:gd name="connsiteX20" fmla="*/ 114300 w 638174"/>
                <a:gd name="connsiteY20" fmla="*/ 495300 h 609600"/>
                <a:gd name="connsiteX21" fmla="*/ 57150 w 638174"/>
                <a:gd name="connsiteY21" fmla="*/ 495300 h 609600"/>
                <a:gd name="connsiteX22" fmla="*/ 19050 w 638174"/>
                <a:gd name="connsiteY22" fmla="*/ 509892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38174" h="609600">
                  <a:moveTo>
                    <a:pt x="619125" y="590550"/>
                  </a:moveTo>
                  <a:lnTo>
                    <a:pt x="57150" y="590550"/>
                  </a:lnTo>
                  <a:cubicBezTo>
                    <a:pt x="36108" y="590550"/>
                    <a:pt x="19050" y="573492"/>
                    <a:pt x="19050" y="552450"/>
                  </a:cubicBezTo>
                  <a:cubicBezTo>
                    <a:pt x="19050" y="531408"/>
                    <a:pt x="36108" y="514350"/>
                    <a:pt x="57150" y="514350"/>
                  </a:cubicBezTo>
                  <a:lnTo>
                    <a:pt x="133350" y="514350"/>
                  </a:lnTo>
                  <a:lnTo>
                    <a:pt x="133350" y="114300"/>
                  </a:lnTo>
                  <a:lnTo>
                    <a:pt x="603885" y="114300"/>
                  </a:lnTo>
                  <a:lnTo>
                    <a:pt x="622935" y="95250"/>
                  </a:lnTo>
                  <a:lnTo>
                    <a:pt x="133350" y="95250"/>
                  </a:lnTo>
                  <a:lnTo>
                    <a:pt x="133350" y="0"/>
                  </a:lnTo>
                  <a:lnTo>
                    <a:pt x="57150" y="0"/>
                  </a:lnTo>
                  <a:cubicBezTo>
                    <a:pt x="25602" y="37"/>
                    <a:pt x="37" y="25602"/>
                    <a:pt x="0" y="57150"/>
                  </a:cubicBezTo>
                  <a:lnTo>
                    <a:pt x="0" y="552450"/>
                  </a:lnTo>
                  <a:cubicBezTo>
                    <a:pt x="37" y="583998"/>
                    <a:pt x="25602" y="609563"/>
                    <a:pt x="57150" y="609600"/>
                  </a:cubicBezTo>
                  <a:lnTo>
                    <a:pt x="638175" y="609600"/>
                  </a:lnTo>
                  <a:lnTo>
                    <a:pt x="638175" y="280816"/>
                  </a:lnTo>
                  <a:lnTo>
                    <a:pt x="619125" y="299866"/>
                  </a:lnTo>
                  <a:close/>
                  <a:moveTo>
                    <a:pt x="19050" y="57150"/>
                  </a:moveTo>
                  <a:cubicBezTo>
                    <a:pt x="19050" y="36108"/>
                    <a:pt x="36108" y="19050"/>
                    <a:pt x="57150" y="19050"/>
                  </a:cubicBezTo>
                  <a:lnTo>
                    <a:pt x="114300" y="19050"/>
                  </a:lnTo>
                  <a:lnTo>
                    <a:pt x="114300" y="495300"/>
                  </a:lnTo>
                  <a:lnTo>
                    <a:pt x="57150" y="495300"/>
                  </a:lnTo>
                  <a:cubicBezTo>
                    <a:pt x="43083" y="495291"/>
                    <a:pt x="29512" y="500489"/>
                    <a:pt x="19050" y="5098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55807D47-D036-CBD7-5DFC-6AAC2A383472}"/>
                </a:ext>
              </a:extLst>
            </p:cNvPr>
            <p:cNvSpPr/>
            <p:nvPr/>
          </p:nvSpPr>
          <p:spPr>
            <a:xfrm>
              <a:off x="5181042" y="3120746"/>
              <a:ext cx="641852" cy="534075"/>
            </a:xfrm>
            <a:custGeom>
              <a:avLst/>
              <a:gdLst>
                <a:gd name="connsiteX0" fmla="*/ 636270 w 641852"/>
                <a:gd name="connsiteY0" fmla="*/ 38966 h 534075"/>
                <a:gd name="connsiteX1" fmla="*/ 602933 w 641852"/>
                <a:gd name="connsiteY1" fmla="*/ 5628 h 534075"/>
                <a:gd name="connsiteX2" fmla="*/ 576438 w 641852"/>
                <a:gd name="connsiteY2" fmla="*/ 5348 h 534075"/>
                <a:gd name="connsiteX3" fmla="*/ 576158 w 641852"/>
                <a:gd name="connsiteY3" fmla="*/ 5628 h 534075"/>
                <a:gd name="connsiteX4" fmla="*/ 332975 w 641852"/>
                <a:gd name="connsiteY4" fmla="*/ 249278 h 534075"/>
                <a:gd name="connsiteX5" fmla="*/ 331680 w 641852"/>
                <a:gd name="connsiteY5" fmla="*/ 252307 h 534075"/>
                <a:gd name="connsiteX6" fmla="*/ 310963 w 641852"/>
                <a:gd name="connsiteY6" fmla="*/ 316324 h 534075"/>
                <a:gd name="connsiteX7" fmla="*/ 183109 w 641852"/>
                <a:gd name="connsiteY7" fmla="*/ 194490 h 534075"/>
                <a:gd name="connsiteX8" fmla="*/ 0 w 641852"/>
                <a:gd name="connsiteY8" fmla="*/ 368131 h 534075"/>
                <a:gd name="connsiteX9" fmla="*/ 42196 w 641852"/>
                <a:gd name="connsiteY9" fmla="*/ 410326 h 534075"/>
                <a:gd name="connsiteX10" fmla="*/ 42196 w 641852"/>
                <a:gd name="connsiteY10" fmla="*/ 534075 h 534075"/>
                <a:gd name="connsiteX11" fmla="*/ 166021 w 641852"/>
                <a:gd name="connsiteY11" fmla="*/ 534075 h 534075"/>
                <a:gd name="connsiteX12" fmla="*/ 166021 w 641852"/>
                <a:gd name="connsiteY12" fmla="*/ 424938 h 534075"/>
                <a:gd name="connsiteX13" fmla="*/ 199358 w 641852"/>
                <a:gd name="connsiteY13" fmla="*/ 424938 h 534075"/>
                <a:gd name="connsiteX14" fmla="*/ 199358 w 641852"/>
                <a:gd name="connsiteY14" fmla="*/ 534075 h 534075"/>
                <a:gd name="connsiteX15" fmla="*/ 323183 w 641852"/>
                <a:gd name="connsiteY15" fmla="*/ 534075 h 534075"/>
                <a:gd name="connsiteX16" fmla="*/ 323183 w 641852"/>
                <a:gd name="connsiteY16" fmla="*/ 390648 h 534075"/>
                <a:gd name="connsiteX17" fmla="*/ 182689 w 641852"/>
                <a:gd name="connsiteY17" fmla="*/ 257183 h 534075"/>
                <a:gd name="connsiteX18" fmla="*/ 45920 w 641852"/>
                <a:gd name="connsiteY18" fmla="*/ 387114 h 534075"/>
                <a:gd name="connsiteX19" fmla="*/ 27299 w 641852"/>
                <a:gd name="connsiteY19" fmla="*/ 368493 h 534075"/>
                <a:gd name="connsiteX20" fmla="*/ 183071 w 641852"/>
                <a:gd name="connsiteY20" fmla="*/ 220769 h 534075"/>
                <a:gd name="connsiteX21" fmla="*/ 305619 w 641852"/>
                <a:gd name="connsiteY21" fmla="*/ 337546 h 534075"/>
                <a:gd name="connsiteX22" fmla="*/ 389582 w 641852"/>
                <a:gd name="connsiteY22" fmla="*/ 310209 h 534075"/>
                <a:gd name="connsiteX23" fmla="*/ 393487 w 641852"/>
                <a:gd name="connsiteY23" fmla="*/ 308552 h 534075"/>
                <a:gd name="connsiteX24" fmla="*/ 635803 w 641852"/>
                <a:gd name="connsiteY24" fmla="*/ 65274 h 534075"/>
                <a:gd name="connsiteX25" fmla="*/ 637426 w 641852"/>
                <a:gd name="connsiteY25" fmla="*/ 40163 h 534075"/>
                <a:gd name="connsiteX26" fmla="*/ 636270 w 641852"/>
                <a:gd name="connsiteY26" fmla="*/ 38966 h 534075"/>
                <a:gd name="connsiteX27" fmla="*/ 61246 w 641852"/>
                <a:gd name="connsiteY27" fmla="*/ 398820 h 534075"/>
                <a:gd name="connsiteX28" fmla="*/ 182689 w 641852"/>
                <a:gd name="connsiteY28" fmla="*/ 283453 h 534075"/>
                <a:gd name="connsiteX29" fmla="*/ 304133 w 641852"/>
                <a:gd name="connsiteY29" fmla="*/ 398820 h 534075"/>
                <a:gd name="connsiteX30" fmla="*/ 304133 w 641852"/>
                <a:gd name="connsiteY30" fmla="*/ 515025 h 534075"/>
                <a:gd name="connsiteX31" fmla="*/ 218408 w 641852"/>
                <a:gd name="connsiteY31" fmla="*/ 515025 h 534075"/>
                <a:gd name="connsiteX32" fmla="*/ 218408 w 641852"/>
                <a:gd name="connsiteY32" fmla="*/ 405888 h 534075"/>
                <a:gd name="connsiteX33" fmla="*/ 146971 w 641852"/>
                <a:gd name="connsiteY33" fmla="*/ 405888 h 534075"/>
                <a:gd name="connsiteX34" fmla="*/ 146971 w 641852"/>
                <a:gd name="connsiteY34" fmla="*/ 515025 h 534075"/>
                <a:gd name="connsiteX35" fmla="*/ 61246 w 641852"/>
                <a:gd name="connsiteY35" fmla="*/ 515025 h 534075"/>
                <a:gd name="connsiteX36" fmla="*/ 386582 w 641852"/>
                <a:gd name="connsiteY36" fmla="*/ 288530 h 534075"/>
                <a:gd name="connsiteX37" fmla="*/ 383229 w 641852"/>
                <a:gd name="connsiteY37" fmla="*/ 291883 h 534075"/>
                <a:gd name="connsiteX38" fmla="*/ 343443 w 641852"/>
                <a:gd name="connsiteY38" fmla="*/ 305008 h 534075"/>
                <a:gd name="connsiteX39" fmla="*/ 336975 w 641852"/>
                <a:gd name="connsiteY39" fmla="*/ 298541 h 534075"/>
                <a:gd name="connsiteX40" fmla="*/ 350034 w 641852"/>
                <a:gd name="connsiteY40" fmla="*/ 259165 h 534075"/>
                <a:gd name="connsiteX41" fmla="*/ 353930 w 641852"/>
                <a:gd name="connsiteY41" fmla="*/ 255259 h 534075"/>
                <a:gd name="connsiteX42" fmla="*/ 366665 w 641852"/>
                <a:gd name="connsiteY42" fmla="*/ 251659 h 534075"/>
                <a:gd name="connsiteX43" fmla="*/ 383629 w 641852"/>
                <a:gd name="connsiteY43" fmla="*/ 258765 h 534075"/>
                <a:gd name="connsiteX44" fmla="*/ 386582 w 641852"/>
                <a:gd name="connsiteY44" fmla="*/ 288530 h 534075"/>
                <a:gd name="connsiteX45" fmla="*/ 576529 w 641852"/>
                <a:gd name="connsiteY45" fmla="*/ 98545 h 534075"/>
                <a:gd name="connsiteX46" fmla="*/ 408651 w 641852"/>
                <a:gd name="connsiteY46" fmla="*/ 266423 h 534075"/>
                <a:gd name="connsiteX47" fmla="*/ 375523 w 641852"/>
                <a:gd name="connsiteY47" fmla="*/ 233580 h 534075"/>
                <a:gd name="connsiteX48" fmla="*/ 543582 w 641852"/>
                <a:gd name="connsiteY48" fmla="*/ 65121 h 534075"/>
                <a:gd name="connsiteX49" fmla="*/ 546764 w 641852"/>
                <a:gd name="connsiteY49" fmla="*/ 61930 h 534075"/>
                <a:gd name="connsiteX50" fmla="*/ 579834 w 641852"/>
                <a:gd name="connsiteY50" fmla="*/ 94973 h 534075"/>
                <a:gd name="connsiteX51" fmla="*/ 592950 w 641852"/>
                <a:gd name="connsiteY51" fmla="*/ 81180 h 534075"/>
                <a:gd name="connsiteX52" fmla="*/ 560232 w 641852"/>
                <a:gd name="connsiteY52" fmla="*/ 48462 h 534075"/>
                <a:gd name="connsiteX53" fmla="*/ 589540 w 641852"/>
                <a:gd name="connsiteY53" fmla="*/ 19173 h 534075"/>
                <a:gd name="connsiteX54" fmla="*/ 622240 w 641852"/>
                <a:gd name="connsiteY54" fmla="*/ 51891 h 53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41852" h="534075">
                  <a:moveTo>
                    <a:pt x="636270" y="38966"/>
                  </a:moveTo>
                  <a:lnTo>
                    <a:pt x="602933" y="5628"/>
                  </a:lnTo>
                  <a:cubicBezTo>
                    <a:pt x="595694" y="-1765"/>
                    <a:pt x="583831" y="-1891"/>
                    <a:pt x="576438" y="5348"/>
                  </a:cubicBezTo>
                  <a:cubicBezTo>
                    <a:pt x="576343" y="5441"/>
                    <a:pt x="576250" y="5534"/>
                    <a:pt x="576158" y="5628"/>
                  </a:cubicBezTo>
                  <a:lnTo>
                    <a:pt x="332975" y="249278"/>
                  </a:lnTo>
                  <a:lnTo>
                    <a:pt x="331680" y="252307"/>
                  </a:lnTo>
                  <a:lnTo>
                    <a:pt x="310963" y="316324"/>
                  </a:lnTo>
                  <a:lnTo>
                    <a:pt x="183109" y="194490"/>
                  </a:lnTo>
                  <a:lnTo>
                    <a:pt x="0" y="368131"/>
                  </a:lnTo>
                  <a:lnTo>
                    <a:pt x="42196" y="410326"/>
                  </a:lnTo>
                  <a:lnTo>
                    <a:pt x="42196" y="534075"/>
                  </a:lnTo>
                  <a:lnTo>
                    <a:pt x="166021" y="534075"/>
                  </a:lnTo>
                  <a:lnTo>
                    <a:pt x="166021" y="424938"/>
                  </a:lnTo>
                  <a:lnTo>
                    <a:pt x="199358" y="424938"/>
                  </a:lnTo>
                  <a:lnTo>
                    <a:pt x="199358" y="534075"/>
                  </a:lnTo>
                  <a:lnTo>
                    <a:pt x="323183" y="534075"/>
                  </a:lnTo>
                  <a:lnTo>
                    <a:pt x="323183" y="390648"/>
                  </a:lnTo>
                  <a:lnTo>
                    <a:pt x="182689" y="257183"/>
                  </a:lnTo>
                  <a:lnTo>
                    <a:pt x="45920" y="387114"/>
                  </a:lnTo>
                  <a:lnTo>
                    <a:pt x="27299" y="368493"/>
                  </a:lnTo>
                  <a:lnTo>
                    <a:pt x="183071" y="220769"/>
                  </a:lnTo>
                  <a:lnTo>
                    <a:pt x="305619" y="337546"/>
                  </a:lnTo>
                  <a:lnTo>
                    <a:pt x="389582" y="310209"/>
                  </a:lnTo>
                  <a:lnTo>
                    <a:pt x="393487" y="308552"/>
                  </a:lnTo>
                  <a:lnTo>
                    <a:pt x="635803" y="65274"/>
                  </a:lnTo>
                  <a:cubicBezTo>
                    <a:pt x="643185" y="58788"/>
                    <a:pt x="643912" y="47546"/>
                    <a:pt x="637426" y="40163"/>
                  </a:cubicBezTo>
                  <a:cubicBezTo>
                    <a:pt x="637060" y="39747"/>
                    <a:pt x="636674" y="39347"/>
                    <a:pt x="636270" y="38966"/>
                  </a:cubicBezTo>
                  <a:close/>
                  <a:moveTo>
                    <a:pt x="61246" y="398820"/>
                  </a:moveTo>
                  <a:lnTo>
                    <a:pt x="182689" y="283453"/>
                  </a:lnTo>
                  <a:lnTo>
                    <a:pt x="304133" y="398820"/>
                  </a:lnTo>
                  <a:lnTo>
                    <a:pt x="304133" y="515025"/>
                  </a:lnTo>
                  <a:lnTo>
                    <a:pt x="218408" y="515025"/>
                  </a:lnTo>
                  <a:lnTo>
                    <a:pt x="218408" y="405888"/>
                  </a:lnTo>
                  <a:lnTo>
                    <a:pt x="146971" y="405888"/>
                  </a:lnTo>
                  <a:lnTo>
                    <a:pt x="146971" y="515025"/>
                  </a:lnTo>
                  <a:lnTo>
                    <a:pt x="61246" y="515025"/>
                  </a:lnTo>
                  <a:close/>
                  <a:moveTo>
                    <a:pt x="386582" y="288530"/>
                  </a:moveTo>
                  <a:lnTo>
                    <a:pt x="383229" y="291883"/>
                  </a:lnTo>
                  <a:lnTo>
                    <a:pt x="343443" y="305008"/>
                  </a:lnTo>
                  <a:lnTo>
                    <a:pt x="336975" y="298541"/>
                  </a:lnTo>
                  <a:lnTo>
                    <a:pt x="350034" y="259165"/>
                  </a:lnTo>
                  <a:lnTo>
                    <a:pt x="353930" y="255259"/>
                  </a:lnTo>
                  <a:cubicBezTo>
                    <a:pt x="357769" y="252923"/>
                    <a:pt x="362171" y="251678"/>
                    <a:pt x="366665" y="251659"/>
                  </a:cubicBezTo>
                  <a:cubicBezTo>
                    <a:pt x="373043" y="251660"/>
                    <a:pt x="379154" y="254220"/>
                    <a:pt x="383629" y="258765"/>
                  </a:cubicBezTo>
                  <a:cubicBezTo>
                    <a:pt x="391745" y="266636"/>
                    <a:pt x="392994" y="279218"/>
                    <a:pt x="386582" y="288530"/>
                  </a:cubicBezTo>
                  <a:close/>
                  <a:moveTo>
                    <a:pt x="576529" y="98545"/>
                  </a:moveTo>
                  <a:lnTo>
                    <a:pt x="408651" y="266423"/>
                  </a:lnTo>
                  <a:cubicBezTo>
                    <a:pt x="404999" y="249929"/>
                    <a:pt x="392048" y="237090"/>
                    <a:pt x="375523" y="233580"/>
                  </a:cubicBezTo>
                  <a:lnTo>
                    <a:pt x="543582" y="65121"/>
                  </a:lnTo>
                  <a:lnTo>
                    <a:pt x="546764" y="61930"/>
                  </a:lnTo>
                  <a:lnTo>
                    <a:pt x="579834" y="94973"/>
                  </a:lnTo>
                  <a:close/>
                  <a:moveTo>
                    <a:pt x="592950" y="81180"/>
                  </a:moveTo>
                  <a:lnTo>
                    <a:pt x="560232" y="48462"/>
                  </a:lnTo>
                  <a:lnTo>
                    <a:pt x="589540" y="19173"/>
                  </a:lnTo>
                  <a:lnTo>
                    <a:pt x="622240" y="518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8247998-1933-2AD6-9AE9-CDC8C21F1B01}"/>
              </a:ext>
            </a:extLst>
          </p:cNvPr>
          <p:cNvGrpSpPr/>
          <p:nvPr/>
        </p:nvGrpSpPr>
        <p:grpSpPr>
          <a:xfrm>
            <a:off x="955536" y="3821828"/>
            <a:ext cx="883896" cy="1446899"/>
            <a:chOff x="955536" y="4587978"/>
            <a:chExt cx="1703073" cy="2786208"/>
          </a:xfrm>
        </p:grpSpPr>
        <p:grpSp>
          <p:nvGrpSpPr>
            <p:cNvPr id="28" name="Group 52">
              <a:extLst>
                <a:ext uri="{FF2B5EF4-FFF2-40B4-BE49-F238E27FC236}">
                  <a16:creationId xmlns:a16="http://schemas.microsoft.com/office/drawing/2014/main" id="{0300E51F-9E17-BE7E-ED4F-90673E89971E}"/>
                </a:ext>
              </a:extLst>
            </p:cNvPr>
            <p:cNvGrpSpPr/>
            <p:nvPr/>
          </p:nvGrpSpPr>
          <p:grpSpPr>
            <a:xfrm>
              <a:off x="955536" y="4587978"/>
              <a:ext cx="1703073" cy="2786208"/>
              <a:chOff x="1803653" y="1995975"/>
              <a:chExt cx="1703073" cy="2786208"/>
            </a:xfrm>
          </p:grpSpPr>
          <p:sp>
            <p:nvSpPr>
              <p:cNvPr id="32" name="Rectangle 53">
                <a:extLst>
                  <a:ext uri="{FF2B5EF4-FFF2-40B4-BE49-F238E27FC236}">
                    <a16:creationId xmlns:a16="http://schemas.microsoft.com/office/drawing/2014/main" id="{8534F536-7E59-1761-05DD-9DB2A5DEE510}"/>
                  </a:ext>
                </a:extLst>
              </p:cNvPr>
              <p:cNvSpPr/>
              <p:nvPr/>
            </p:nvSpPr>
            <p:spPr>
              <a:xfrm>
                <a:off x="1909978" y="3844164"/>
                <a:ext cx="101412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3" name="Oval 55">
                <a:extLst>
                  <a:ext uri="{FF2B5EF4-FFF2-40B4-BE49-F238E27FC236}">
                    <a16:creationId xmlns:a16="http://schemas.microsoft.com/office/drawing/2014/main" id="{9D3BC9B5-949A-8CD2-37F2-BA878E417AFE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4" name="Oval 60">
                <a:extLst>
                  <a:ext uri="{FF2B5EF4-FFF2-40B4-BE49-F238E27FC236}">
                    <a16:creationId xmlns:a16="http://schemas.microsoft.com/office/drawing/2014/main" id="{091E3493-81E0-3EAE-38BD-231C75C3A4A4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de-D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</a:t>
                </a:r>
              </a:p>
            </p:txBody>
          </p:sp>
          <p:sp>
            <p:nvSpPr>
              <p:cNvPr id="35" name="Rectangle 61">
                <a:extLst>
                  <a:ext uri="{FF2B5EF4-FFF2-40B4-BE49-F238E27FC236}">
                    <a16:creationId xmlns:a16="http://schemas.microsoft.com/office/drawing/2014/main" id="{63FD4721-9A12-238F-9EED-C6022E7493C4}"/>
                  </a:ext>
                </a:extLst>
              </p:cNvPr>
              <p:cNvSpPr/>
              <p:nvPr/>
            </p:nvSpPr>
            <p:spPr>
              <a:xfrm>
                <a:off x="1931198" y="4182019"/>
                <a:ext cx="1480757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sit amet, consectetur adipiscing elit</a:t>
                </a:r>
                <a:endPara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29" name="Grafik 28" descr="Schraubenschlüssel mit einfarbiger Füllung">
              <a:extLst>
                <a:ext uri="{FF2B5EF4-FFF2-40B4-BE49-F238E27FC236}">
                  <a16:creationId xmlns:a16="http://schemas.microsoft.com/office/drawing/2014/main" id="{3A26CF59-3619-DA37-8754-F8D063B46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170" y="4855891"/>
              <a:ext cx="914400" cy="914400"/>
            </a:xfrm>
            <a:prstGeom prst="rect">
              <a:avLst/>
            </a:prstGeom>
          </p:spPr>
        </p:pic>
        <p:pic>
          <p:nvPicPr>
            <p:cNvPr id="30" name="Grafik 29" descr="Zahnräder mit einfarbiger Füllung">
              <a:extLst>
                <a:ext uri="{FF2B5EF4-FFF2-40B4-BE49-F238E27FC236}">
                  <a16:creationId xmlns:a16="http://schemas.microsoft.com/office/drawing/2014/main" id="{0C83ACE0-8145-185C-E994-EBF47A655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36362" y="500589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13865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Outlook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A5B303-FBE2-0B6C-F0B2-4C51190E583B}"/>
              </a:ext>
            </a:extLst>
          </p:cNvPr>
          <p:cNvSpPr txBox="1">
            <a:spLocks/>
          </p:cNvSpPr>
          <p:nvPr/>
        </p:nvSpPr>
        <p:spPr>
          <a:xfrm>
            <a:off x="451104" y="667346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How</a:t>
            </a:r>
            <a:r>
              <a:rPr lang="de-DE" dirty="0"/>
              <a:t> could </a:t>
            </a:r>
            <a:r>
              <a:rPr lang="de-DE" dirty="0" err="1"/>
              <a:t>the</a:t>
            </a:r>
            <a:r>
              <a:rPr lang="de-DE" dirty="0"/>
              <a:t> Projec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improved</a:t>
            </a:r>
            <a:r>
              <a:rPr lang="de-DE" dirty="0"/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443A615-5072-2B79-15FF-8A479079869C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139">
            <a:extLst>
              <a:ext uri="{FF2B5EF4-FFF2-40B4-BE49-F238E27FC236}">
                <a16:creationId xmlns:a16="http://schemas.microsoft.com/office/drawing/2014/main" id="{0084A405-F1CB-9AA0-14B2-9E6E14FAB672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7" name="Teardrop 140">
              <a:extLst>
                <a:ext uri="{FF2B5EF4-FFF2-40B4-BE49-F238E27FC236}">
                  <a16:creationId xmlns:a16="http://schemas.microsoft.com/office/drawing/2014/main" id="{25F468AD-79C7-3676-CAD4-131BD12322DD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39">
              <a:extLst>
                <a:ext uri="{FF2B5EF4-FFF2-40B4-BE49-F238E27FC236}">
                  <a16:creationId xmlns:a16="http://schemas.microsoft.com/office/drawing/2014/main" id="{DDF71576-4876-E7A3-554E-A9775D33375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9" name="Group 925">
              <a:extLst>
                <a:ext uri="{FF2B5EF4-FFF2-40B4-BE49-F238E27FC236}">
                  <a16:creationId xmlns:a16="http://schemas.microsoft.com/office/drawing/2014/main" id="{BE2606AD-08FD-9C4C-630C-0CD3822EE03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1" name="Freeform 926">
                <a:extLst>
                  <a:ext uri="{FF2B5EF4-FFF2-40B4-BE49-F238E27FC236}">
                    <a16:creationId xmlns:a16="http://schemas.microsoft.com/office/drawing/2014/main" id="{7D38EFDC-9806-FE78-CDF4-5161BA301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927">
                <a:extLst>
                  <a:ext uri="{FF2B5EF4-FFF2-40B4-BE49-F238E27FC236}">
                    <a16:creationId xmlns:a16="http://schemas.microsoft.com/office/drawing/2014/main" id="{9463D904-7294-DC33-4C17-DDF374D35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0" name="Oval 143">
              <a:extLst>
                <a:ext uri="{FF2B5EF4-FFF2-40B4-BE49-F238E27FC236}">
                  <a16:creationId xmlns:a16="http://schemas.microsoft.com/office/drawing/2014/main" id="{00BAFC58-E196-00DF-20F6-A0EB2D41E3C4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3" name="Freeform 872">
            <a:extLst>
              <a:ext uri="{FF2B5EF4-FFF2-40B4-BE49-F238E27FC236}">
                <a16:creationId xmlns:a16="http://schemas.microsoft.com/office/drawing/2014/main" id="{E0FBC892-5002-83AB-80D2-522E76BFF698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1ED1978-AB09-51A9-A660-2D43F5BDDD2A}"/>
              </a:ext>
            </a:extLst>
          </p:cNvPr>
          <p:cNvSpPr/>
          <p:nvPr/>
        </p:nvSpPr>
        <p:spPr>
          <a:xfrm>
            <a:off x="12421844" y="1845918"/>
            <a:ext cx="2519680" cy="135466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grpSp>
        <p:nvGrpSpPr>
          <p:cNvPr id="41" name="Group 29">
            <a:extLst>
              <a:ext uri="{FF2B5EF4-FFF2-40B4-BE49-F238E27FC236}">
                <a16:creationId xmlns:a16="http://schemas.microsoft.com/office/drawing/2014/main" id="{1BC58449-B45F-40A8-195E-FD8A9D55B46A}"/>
              </a:ext>
            </a:extLst>
          </p:cNvPr>
          <p:cNvGrpSpPr/>
          <p:nvPr/>
        </p:nvGrpSpPr>
        <p:grpSpPr>
          <a:xfrm>
            <a:off x="955536" y="1950693"/>
            <a:ext cx="1703073" cy="2786208"/>
            <a:chOff x="1803653" y="1995975"/>
            <a:chExt cx="1703073" cy="2786208"/>
          </a:xfrm>
        </p:grpSpPr>
        <p:sp>
          <p:nvSpPr>
            <p:cNvPr id="42" name="Rectangle 30">
              <a:extLst>
                <a:ext uri="{FF2B5EF4-FFF2-40B4-BE49-F238E27FC236}">
                  <a16:creationId xmlns:a16="http://schemas.microsoft.com/office/drawing/2014/main" id="{009769A1-EB82-61CB-995C-0C5EBA27CCAA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Oval 31">
              <a:extLst>
                <a:ext uri="{FF2B5EF4-FFF2-40B4-BE49-F238E27FC236}">
                  <a16:creationId xmlns:a16="http://schemas.microsoft.com/office/drawing/2014/main" id="{D00747F0-8159-FEF0-3C71-FCE4D8BB9796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05587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Oval 37">
              <a:extLst>
                <a:ext uri="{FF2B5EF4-FFF2-40B4-BE49-F238E27FC236}">
                  <a16:creationId xmlns:a16="http://schemas.microsoft.com/office/drawing/2014/main" id="{36F7C813-90BF-9048-ADD0-A82276D06C29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8">
              <a:extLst>
                <a:ext uri="{FF2B5EF4-FFF2-40B4-BE49-F238E27FC236}">
                  <a16:creationId xmlns:a16="http://schemas.microsoft.com/office/drawing/2014/main" id="{DA3A313B-6E2D-5E28-C59E-D36425C32FE5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7" name="Group 52">
            <a:extLst>
              <a:ext uri="{FF2B5EF4-FFF2-40B4-BE49-F238E27FC236}">
                <a16:creationId xmlns:a16="http://schemas.microsoft.com/office/drawing/2014/main" id="{FC143D0D-E694-49B5-B47F-9A5BBFA66612}"/>
              </a:ext>
            </a:extLst>
          </p:cNvPr>
          <p:cNvGrpSpPr/>
          <p:nvPr/>
        </p:nvGrpSpPr>
        <p:grpSpPr>
          <a:xfrm>
            <a:off x="955536" y="4071792"/>
            <a:ext cx="1703073" cy="2786208"/>
            <a:chOff x="1803653" y="1995975"/>
            <a:chExt cx="1703073" cy="2786208"/>
          </a:xfrm>
        </p:grpSpPr>
        <p:sp>
          <p:nvSpPr>
            <p:cNvPr id="48" name="Rectangle 53">
              <a:extLst>
                <a:ext uri="{FF2B5EF4-FFF2-40B4-BE49-F238E27FC236}">
                  <a16:creationId xmlns:a16="http://schemas.microsoft.com/office/drawing/2014/main" id="{31985CC6-F3E9-2BA3-6719-EA64A2F89E3F}"/>
                </a:ext>
              </a:extLst>
            </p:cNvPr>
            <p:cNvSpPr/>
            <p:nvPr/>
          </p:nvSpPr>
          <p:spPr>
            <a:xfrm>
              <a:off x="1909978" y="3844164"/>
              <a:ext cx="10141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</a:t>
              </a: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9" name="Oval 55">
              <a:extLst>
                <a:ext uri="{FF2B5EF4-FFF2-40B4-BE49-F238E27FC236}">
                  <a16:creationId xmlns:a16="http://schemas.microsoft.com/office/drawing/2014/main" id="{729729EE-E3EB-D38F-5E85-ED0B7B16C4E3}"/>
                </a:ext>
              </a:extLst>
            </p:cNvPr>
            <p:cNvSpPr/>
            <p:nvPr/>
          </p:nvSpPr>
          <p:spPr bwMode="gray">
            <a:xfrm>
              <a:off x="1803653" y="1995975"/>
              <a:ext cx="1703073" cy="1699552"/>
            </a:xfrm>
            <a:prstGeom prst="ellipse">
              <a:avLst/>
            </a:prstGeom>
            <a:solidFill>
              <a:srgbClr val="046A38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0" name="Oval 60">
              <a:extLst>
                <a:ext uri="{FF2B5EF4-FFF2-40B4-BE49-F238E27FC236}">
                  <a16:creationId xmlns:a16="http://schemas.microsoft.com/office/drawing/2014/main" id="{DB307EA9-317E-2F43-9C94-66EDF499BBD6}"/>
                </a:ext>
              </a:extLst>
            </p:cNvPr>
            <p:cNvSpPr/>
            <p:nvPr/>
          </p:nvSpPr>
          <p:spPr bwMode="gray">
            <a:xfrm>
              <a:off x="1997259" y="2189181"/>
              <a:ext cx="1315860" cy="1313139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51" name="Rectangle 61">
              <a:extLst>
                <a:ext uri="{FF2B5EF4-FFF2-40B4-BE49-F238E27FC236}">
                  <a16:creationId xmlns:a16="http://schemas.microsoft.com/office/drawing/2014/main" id="{77585DEE-E8AC-A124-C749-F999FE301092}"/>
                </a:ext>
              </a:extLst>
            </p:cNvPr>
            <p:cNvSpPr/>
            <p:nvPr/>
          </p:nvSpPr>
          <p:spPr>
            <a:xfrm>
              <a:off x="1931198" y="4182019"/>
              <a:ext cx="1480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sit amet, consectetur adipiscing elit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70" name="Rectangle 78">
            <a:extLst>
              <a:ext uri="{FF2B5EF4-FFF2-40B4-BE49-F238E27FC236}">
                <a16:creationId xmlns:a16="http://schemas.microsoft.com/office/drawing/2014/main" id="{1E742322-064F-2CCC-0CC7-FC51DB767882}"/>
              </a:ext>
            </a:extLst>
          </p:cNvPr>
          <p:cNvSpPr/>
          <p:nvPr/>
        </p:nvSpPr>
        <p:spPr>
          <a:xfrm>
            <a:off x="3037769" y="2611713"/>
            <a:ext cx="6361412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More </a:t>
            </a:r>
            <a:r>
              <a:rPr lang="de-DE" dirty="0" err="1">
                <a:solidFill>
                  <a:srgbClr val="313131"/>
                </a:solidFill>
              </a:rPr>
              <a:t>detaile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nalysi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f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our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best</a:t>
            </a:r>
            <a:r>
              <a:rPr lang="de-DE" dirty="0">
                <a:solidFill>
                  <a:srgbClr val="313131"/>
                </a:solidFill>
              </a:rPr>
              <a:t> Parameters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How</a:t>
            </a:r>
            <a:r>
              <a:rPr lang="de-DE" dirty="0">
                <a:solidFill>
                  <a:srgbClr val="313131"/>
                </a:solidFill>
              </a:rPr>
              <a:t> do the Parameters </a:t>
            </a:r>
            <a:r>
              <a:rPr lang="de-DE" dirty="0" err="1">
                <a:solidFill>
                  <a:srgbClr val="313131"/>
                </a:solidFill>
              </a:rPr>
              <a:t>influence</a:t>
            </a:r>
            <a:r>
              <a:rPr lang="de-DE" dirty="0">
                <a:solidFill>
                  <a:srgbClr val="313131"/>
                </a:solidFill>
              </a:rPr>
              <a:t> the </a:t>
            </a:r>
            <a:r>
              <a:rPr lang="de-DE" dirty="0" err="1">
                <a:solidFill>
                  <a:srgbClr val="313131"/>
                </a:solidFill>
              </a:rPr>
              <a:t>Shepherd‘s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trategy</a:t>
            </a:r>
            <a:r>
              <a:rPr lang="de-DE" dirty="0">
                <a:solidFill>
                  <a:srgbClr val="313131"/>
                </a:solidFill>
              </a:rPr>
              <a:t>?</a:t>
            </a: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4E5AF55B-DD59-AD42-9421-4909FE416E45}"/>
              </a:ext>
            </a:extLst>
          </p:cNvPr>
          <p:cNvSpPr/>
          <p:nvPr/>
        </p:nvSpPr>
        <p:spPr>
          <a:xfrm>
            <a:off x="3037769" y="4736901"/>
            <a:ext cx="6871775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Actual</a:t>
            </a:r>
            <a:r>
              <a:rPr lang="de-DE" dirty="0">
                <a:solidFill>
                  <a:srgbClr val="313131"/>
                </a:solidFill>
              </a:rPr>
              <a:t> Repulsion-Force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Fenc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313131"/>
                </a:solidFill>
              </a:rPr>
              <a:t>Introducing</a:t>
            </a:r>
            <a:r>
              <a:rPr lang="de-DE" dirty="0">
                <a:solidFill>
                  <a:srgbClr val="313131"/>
                </a:solidFill>
              </a:rPr>
              <a:t> additional Obstacles </a:t>
            </a:r>
            <a:r>
              <a:rPr lang="de-DE" dirty="0" err="1">
                <a:solidFill>
                  <a:srgbClr val="313131"/>
                </a:solidFill>
              </a:rPr>
              <a:t>along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he</a:t>
            </a:r>
            <a:r>
              <a:rPr lang="de-DE" dirty="0">
                <a:solidFill>
                  <a:srgbClr val="313131"/>
                </a:solidFill>
              </a:rPr>
              <a:t> Path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Herd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Target</a:t>
            </a:r>
          </a:p>
        </p:txBody>
      </p:sp>
      <p:pic>
        <p:nvPicPr>
          <p:cNvPr id="15" name="Grafik 14" descr="Lupe mit einfarbiger Füllung">
            <a:extLst>
              <a:ext uri="{FF2B5EF4-FFF2-40B4-BE49-F238E27FC236}">
                <a16:creationId xmlns:a16="http://schemas.microsoft.com/office/drawing/2014/main" id="{E99B9EC7-CF3C-E99B-2F9D-57D6C986B4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49872" y="2322750"/>
            <a:ext cx="914400" cy="914400"/>
          </a:xfrm>
          <a:prstGeom prst="rect">
            <a:avLst/>
          </a:prstGeom>
        </p:spPr>
      </p:pic>
      <p:pic>
        <p:nvPicPr>
          <p:cNvPr id="17" name="Grafik 16" descr="Vollziegelwand mit einfarbiger Füllung">
            <a:extLst>
              <a:ext uri="{FF2B5EF4-FFF2-40B4-BE49-F238E27FC236}">
                <a16:creationId xmlns:a16="http://schemas.microsoft.com/office/drawing/2014/main" id="{347A4F65-CC16-E1C8-5DB2-534515F7CF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80687" y="447406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92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DD643831-9107-387A-0410-25C7844641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" r="10194" b="1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8CDBD4F-867F-D835-9080-322F7C92E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2507" y="-1006998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Thank you for your attention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961FE0-164A-2527-0673-42973BA70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08253" y="6451192"/>
            <a:ext cx="9144000" cy="528343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Franziska Weber, Franz Muszarsky, Kimberley Frings</a:t>
            </a:r>
          </a:p>
        </p:txBody>
      </p:sp>
    </p:spTree>
    <p:extLst>
      <p:ext uri="{BB962C8B-B14F-4D97-AF65-F5344CB8AC3E}">
        <p14:creationId xmlns:p14="http://schemas.microsoft.com/office/powerpoint/2010/main" val="3220621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sz="2800" dirty="0" err="1"/>
              <a:t>Introduction</a:t>
            </a:r>
            <a:r>
              <a:rPr lang="de-DE" sz="2800" dirty="0"/>
              <a:t>: </a:t>
            </a:r>
            <a:r>
              <a:rPr lang="de-DE" sz="2800" dirty="0" err="1"/>
              <a:t>Shepherding</a:t>
            </a:r>
            <a:r>
              <a:rPr lang="de-DE" sz="2800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306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 animBg="1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sz="2800" dirty="0" err="1"/>
              <a:t>Introduction</a:t>
            </a:r>
            <a:r>
              <a:rPr lang="de-DE" sz="2800" dirty="0"/>
              <a:t>: </a:t>
            </a:r>
            <a:r>
              <a:rPr lang="de-DE" sz="2800" dirty="0" err="1"/>
              <a:t>Shepherding</a:t>
            </a:r>
            <a:r>
              <a:rPr lang="de-DE" sz="2800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Target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F3684AF-F82F-2FE1-F8AA-E5542EACBEA0}"/>
              </a:ext>
            </a:extLst>
          </p:cNvPr>
          <p:cNvSpPr txBox="1"/>
          <p:nvPr/>
        </p:nvSpPr>
        <p:spPr>
          <a:xfrm>
            <a:off x="1777307" y="1980148"/>
            <a:ext cx="512118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1" dirty="0">
                <a:solidFill>
                  <a:srgbClr val="040C28"/>
                </a:solidFill>
                <a:effectLst/>
                <a:latin typeface="Google Sans"/>
              </a:rPr>
              <a:t>“The problem of guiding a flock of several autonomous agents using repulsion force exerted by a smaller number of agents.”</a:t>
            </a:r>
            <a:endParaRPr lang="de-DE" sz="2800" i="1" dirty="0"/>
          </a:p>
        </p:txBody>
      </p:sp>
    </p:spTree>
    <p:extLst>
      <p:ext uri="{BB962C8B-B14F-4D97-AF65-F5344CB8AC3E}">
        <p14:creationId xmlns:p14="http://schemas.microsoft.com/office/powerpoint/2010/main" val="11696079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.00482 0.00208 L 0.00482 0.00208 C 0.00664 0.00648 0.00859 0.01111 0.01055 0.01551 C 0.01133 0.01713 0.01211 0.01875 0.01302 0.0199 C 0.01458 0.02176 0.01654 0.02268 0.0181 0.0243 C 0.01979 0.02615 0.02135 0.02847 0.02305 0.03032 C 0.03034 0.0375 0.03125 0.03773 0.03724 0.04213 C 0.04193 0.04907 0.04714 0.05509 0.05143 0.06296 C 0.05443 0.06828 0.05729 0.0743 0.06055 0.07916 C 0.06758 0.08912 0.075 0.09814 0.08229 0.1074 C 0.08464 0.11041 0.08698 0.11435 0.08971 0.1162 C 0.09687 0.12106 0.1181 0.13449 0.12721 0.14282 C 0.13216 0.14745 0.13646 0.15393 0.14141 0.15764 C 0.16263 0.1743 0.17031 0.17754 0.18893 0.1875 C 0.20417 0.18634 0.21953 0.18657 0.23477 0.18449 C 0.23958 0.18379 0.24414 0.18032 0.24896 0.17847 C 0.25299 0.17685 0.25729 0.17546 0.26146 0.17407 C 0.2681 0.16852 0.27409 0.15902 0.28138 0.15764 L 0.29062 0.15625 C 0.29531 0.15532 0.3 0.15416 0.30469 0.15324 C 0.30859 0.15254 0.3125 0.15254 0.31641 0.15185 L 0.34141 0.14745 C 0.34961 0.14467 0.37995 0.13472 0.38477 0.13102 C 0.38997 0.12708 0.39518 0.12291 0.40052 0.11921 C 0.40469 0.11643 0.40898 0.11481 0.41302 0.1118 C 0.41771 0.10833 0.42174 0.10324 0.42643 0.1 C 0.43073 0.09676 0.43542 0.09537 0.43971 0.09259 C 0.46354 0.07639 0.4457 0.08356 0.47135 0.07176 C 0.47969 0.06782 0.48802 0.06481 0.49635 0.06134 C 0.50026 0.05972 0.50417 0.05787 0.50807 0.05694 C 0.51003 0.05648 0.51198 0.05602 0.51393 0.05555 C 0.51849 0.0537 0.52565 0.05092 0.5306 0.04814 C 0.53555 0.04514 0.54102 0.04398 0.54557 0.03912 C 0.55091 0.03333 0.5569 0.02777 0.56146 0.0199 L 0.56719 0.00949 C 0.5681 0.0081 0.56875 0.00625 0.56979 0.00509 C 0.57057 0.00416 0.57148 0.00324 0.57227 0.00208 C 0.57318 0.00023 0.5737 -0.00232 0.57474 -0.00394 C 0.57539 -0.00486 0.57643 -0.00486 0.57721 -0.00533 C 0.58516 -0.01065 0.57825 -0.00648 0.58385 -0.00973 C 0.58568 -0.01459 0.5845 -0.01412 0.58646 -0.01412 " pathEditMode="relative" ptsTypes="AAAAAAAAAAAAAAAAAAAAAAAAAAAAAAAAAAAAAAAAA">
                                      <p:cBhvr>
                                        <p:cTn id="6" dur="4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.00339 0.00764 L 0.00339 0.00764 C 0.00443 0.01157 0.00521 0.01597 0.00664 0.01945 C 0.00768 0.02199 0.00951 0.02315 0.01081 0.02546 C 0.01237 0.02824 0.01367 0.03125 0.01498 0.03426 C 0.01979 0.04607 0.02487 0.05764 0.02917 0.06991 C 0.0306 0.07384 0.03177 0.07801 0.03333 0.08171 C 0.03425 0.08403 0.03542 0.08588 0.03659 0.08773 C 0.03789 0.08935 0.03945 0.09051 0.04076 0.09213 C 0.04688 0.09931 0.04154 0.09514 0.05078 0.10255 C 0.05547 0.10625 0.06042 0.1088 0.06498 0.11296 C 0.06888 0.11644 0.078 0.12523 0.08333 0.12778 C 0.08581 0.1287 0.09896 0.13056 0.1 0.13079 C 0.10612 0.1294 0.1237 0.12708 0.13242 0.12315 C 0.14063 0.11968 0.14857 0.11551 0.15664 0.11134 C 0.15938 0.10995 0.16224 0.10857 0.16498 0.10695 C 0.16745 0.10556 0.16992 0.10347 0.17253 0.10255 C 0.1763 0.10093 0.18021 0.10046 0.18412 0.09954 C 0.18971 0.09838 0.19531 0.09769 0.20078 0.09653 C 0.203 0.09607 0.20521 0.0956 0.20742 0.09514 C 0.20964 0.09352 0.21185 0.0919 0.21419 0.09074 C 0.2155 0.08982 0.21693 0.08982 0.21836 0.08912 C 0.22031 0.0882 0.22227 0.08727 0.22409 0.08611 C 0.22669 0.08472 0.22917 0.0831 0.23164 0.08171 C 0.23464 0.08009 0.23776 0.07894 0.24076 0.07732 C 0.24115 0.07708 0.25768 0.06806 0.26159 0.06389 C 0.26458 0.06088 0.26706 0.05695 0.26992 0.0537 C 0.27318 0.05 0.27669 0.04699 0.27995 0.04329 C 0.28307 0.03982 0.28594 0.03565 0.28919 0.03287 C 0.29076 0.03125 0.29258 0.03009 0.29414 0.02847 C 0.29583 0.02662 0.2974 0.02407 0.29909 0.02245 C 0.30352 0.01852 0.30521 0.01968 0.31003 0.01806 C 0.32057 0.01435 0.31302 0.01528 0.325 0.01204 C 0.33138 0.01042 0.33776 0.00903 0.34414 0.00764 L 0.35078 0.00625 C 0.35417 0.00324 0.35742 -0.00023 0.36081 -0.00278 C 0.36276 -0.00417 0.36485 -0.00509 0.36667 -0.00718 C 0.36849 -0.00926 0.36979 -0.0125 0.37162 -0.01458 C 0.37344 -0.01667 0.37565 -0.01713 0.37748 -0.01898 C 0.38034 -0.02176 0.38386 -0.02893 0.38581 -0.03241 C 0.38685 -0.03426 0.38789 -0.0368 0.38919 -0.03819 C 0.39492 -0.04514 0.39219 -0.04305 0.39662 -0.0456 C 0.403 -0.04375 0.40169 -0.04722 0.40169 -0.0368 " pathEditMode="relative" ptsTypes="AAAAAAAAAAAAAAAAAAAAAAAAAAAAAAAAAAAAAAAAAAA">
                                      <p:cBhvr>
                                        <p:cTn id="8" dur="4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0.00208 0.00324 L 0.00208 0.00324 C 0.03151 0.00717 -0.00599 0.00115 0.02369 0.00902 C 0.02916 0.01064 0.03476 0.01111 0.04036 0.01203 C 0.04531 0.01296 0.05039 0.01435 0.05534 0.01504 C 0.06002 0.01574 0.06484 0.01574 0.06953 0.01643 C 0.07422 0.01736 0.0789 0.01898 0.08372 0.01944 C 0.09531 0.0206 0.10703 0.02037 0.11875 0.02106 C 0.16549 0.02592 0.13424 0.02314 0.23372 0.02106 C 0.24479 0.02083 0.25599 0.02013 0.26705 0.01944 C 0.29804 0.01805 0.29635 0.01782 0.33125 0.01504 C 0.34648 0.01088 0.34713 0.01111 0.36119 0.00625 C 0.3651 0.00486 0.36914 0.0037 0.37291 0.00162 C 0.37825 -0.00116 0.38346 -0.0051 0.38867 -0.00857 C 0.39401 -0.0125 0.39935 -0.01621 0.40455 -0.02061 C 0.41588 -0.0301 0.42174 -0.03866 0.43372 -0.04584 C 0.4444 -0.05209 0.45547 -0.05602 0.46627 -0.06204 L 0.4845 -0.07246 C 0.49648 -0.07894 0.51041 -0.08357 0.52044 -0.09769 C 0.52565 -0.1051 0.53047 -0.11389 0.53619 -0.11991 C 0.53958 -0.12338 0.54284 -0.12709 0.54622 -0.13033 C 0.5582 -0.14074 0.56849 -0.14699 0.58125 -0.15533 C 0.58203 -0.15602 0.59114 -0.16227 0.59284 -0.16274 C 0.59427 -0.16343 0.5957 -0.16366 0.597 -0.16436 C 0.59843 -0.16505 0.59987 -0.16621 0.60117 -0.16737 C 0.60521 -0.17037 0.60325 -0.17014 0.60547 -0.17014 " pathEditMode="relative" ptsTypes="AAAAAAAAAAAAAAAAAAAAAAAAAA">
                                      <p:cBhvr>
                                        <p:cTn id="10" dur="4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animMotion origin="layout" path="M 0.00313 -0.00487 L 0.00313 -0.00487 C 0.00834 -0.00556 0.01368 -0.00579 0.01888 -0.00649 C 0.02032 -0.00672 0.02175 -0.00718 0.02305 -0.00787 C 0.02487 -0.00903 0.02631 -0.01135 0.02813 -0.01227 C 0.04441 -0.02199 0.01693 -0.00047 0.04141 -0.01829 C 0.06381 -0.03473 0.03334 -0.01598 0.05222 -0.02709 C 0.06068 -0.03889 0.05821 -0.03519 0.06563 -0.04653 C 0.06576 -0.04676 0.07722 -0.06459 0.07813 -0.06574 C 0.08086 -0.06922 0.08347 -0.07292 0.08646 -0.07616 C 0.08803 -0.07778 0.08972 -0.07894 0.09141 -0.08056 C 0.09284 -0.08195 0.09415 -0.0838 0.09558 -0.08496 C 0.10261 -0.09074 0.09831 -0.08565 0.10469 -0.08936 C 0.10951 -0.09213 0.1142 -0.09537 0.11888 -0.09838 C 0.1211 -0.09977 0.12357 -0.10047 0.12553 -0.10278 C 0.13737 -0.11528 0.13099 -0.1088 0.1448 -0.12199 C 0.1461 -0.125 0.14714 -0.12871 0.14896 -0.13079 C 0.15964 -0.14399 0.16042 -0.14005 0.17227 -0.14561 C 0.17566 -0.14723 0.17891 -0.15 0.1823 -0.15162 C 0.18607 -0.15348 0.18998 -0.15487 0.19388 -0.15602 C 0.19662 -0.15695 0.19948 -0.15695 0.20222 -0.15764 C 0.20443 -0.15787 0.20665 -0.15857 0.20886 -0.15903 C 0.21172 -0.16042 0.21446 -0.16227 0.21719 -0.16343 C 0.22058 -0.16482 0.22396 -0.16482 0.22722 -0.16644 C 0.23008 -0.16783 0.23282 -0.17061 0.23555 -0.17246 C 0.25066 -0.18218 0.2362 -0.17153 0.24896 -0.18125 C 0.25092 -0.18473 0.25274 -0.18843 0.25469 -0.19167 C 0.25638 -0.19422 0.26394 -0.20394 0.26641 -0.20649 C 0.2711 -0.21112 0.27579 -0.21528 0.2806 -0.21968 C 0.2823 -0.2213 0.28412 -0.22223 0.28555 -0.22431 C 0.28776 -0.22709 0.28959 -0.23195 0.29219 -0.23311 L 0.29896 -0.23612 L 0.30222 -0.2375 C 0.30287 -0.23912 0.30313 -0.24074 0.30391 -0.2419 L 0.30899 -0.2463 " pathEditMode="relative" ptsTypes="AAAAAAAAAAAAAAAAAAAAAAAAAAAAAAAAAAA">
                                      <p:cBhvr>
                                        <p:cTn id="12" dur="4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0.00481 -0.00255 L 0.00481 -0.00255 C 0.01224 -0.00463 0.01992 -0.00556 0.02721 -0.00857 C 0.03711 -0.01273 0.04557 -0.02685 0.0539 -0.03519 C 0.06341 -0.04468 0.07304 -0.0544 0.08307 -0.06181 C 0.12148 -0.09028 0.14596 -0.09908 0.18815 -0.11366 C 0.19935 -0.11759 0.21093 -0.11968 0.22226 -0.12269 C 0.22369 -0.12292 0.225 -0.12361 0.22643 -0.12408 C 0.23086 -0.1294 0.22981 -0.12871 0.23724 -0.1331 C 0.23893 -0.13403 0.24049 -0.13519 0.24231 -0.13588 C 0.24388 -0.13681 0.24557 -0.13681 0.24726 -0.1375 C 0.24869 -0.13797 0.25 -0.13843 0.25143 -0.13889 C 0.26953 -0.13797 0.2875 -0.13773 0.3056 -0.13588 C 0.3181 -0.13472 0.3082 -0.13357 0.31471 -0.13148 C 0.31718 -0.13079 0.31979 -0.13056 0.32226 -0.13009 C 0.32304 -0.12963 0.32395 -0.12894 0.32474 -0.12847 C 0.3289 -0.12662 0.33346 -0.12616 0.33724 -0.12269 C 0.33893 -0.12107 0.34062 -0.11945 0.34231 -0.11829 C 0.3431 -0.11759 0.34401 -0.11759 0.34479 -0.11667 C 0.34648 -0.11505 0.3483 -0.11343 0.34974 -0.11088 C 0.35143 -0.10787 0.3526 -0.10347 0.35481 -0.10185 C 0.35872 -0.09908 0.36432 -0.0956 0.3681 -0.09144 C 0.37135 -0.08797 0.37382 -0.08287 0.37643 -0.07824 C 0.37721 -0.07662 0.37825 -0.07547 0.3789 -0.07384 C 0.37955 -0.07222 0.3832 -0.06366 0.38476 -0.06181 C 0.38789 -0.05834 0.39036 -0.0588 0.39388 -0.05741 C 0.39505 -0.05718 0.39622 -0.05648 0.39726 -0.05602 C 0.40742 -0.04398 0.40273 -0.04815 0.4289 -0.0544 C 0.4302 -0.05486 0.42994 -0.05857 0.4306 -0.06042 C 0.43125 -0.06204 0.43229 -0.06343 0.43307 -0.06482 C 0.43333 -0.06644 0.43346 -0.06806 0.43398 -0.06922 C 0.43489 -0.07246 0.43658 -0.07477 0.43724 -0.07824 C 0.43763 -0.08033 0.43984 -0.09213 0.44062 -0.09445 C 0.44127 -0.0963 0.44231 -0.09746 0.4431 -0.09884 C 0.44401 -0.11088 0.44323 -0.11204 0.44726 -0.12269 L 0.45065 -0.13148 C 0.45117 -0.1331 0.45195 -0.13426 0.45221 -0.13588 C 0.45351 -0.14236 0.45338 -0.14468 0.4556 -0.14931 C 0.45638 -0.15093 0.45742 -0.15209 0.45807 -0.15371 C 0.45885 -0.15556 0.45911 -0.15787 0.45976 -0.15972 C 0.46106 -0.16366 0.46276 -0.16736 0.46393 -0.17153 C 0.46523 -0.17593 0.46588 -0.18056 0.46731 -0.18496 C 0.46953 -0.1919 0.47265 -0.19815 0.47474 -0.20556 C 0.47955 -0.22246 0.475 -0.20764 0.47981 -0.22037 C 0.48385 -0.23148 0.4806 -0.22477 0.48554 -0.23681 C 0.48919 -0.24514 0.49349 -0.25278 0.49648 -0.26181 C 0.49752 -0.26528 0.4983 -0.26922 0.49974 -0.27222 C 0.50286 -0.27871 0.50638 -0.28403 0.50976 -0.29005 C 0.51119 -0.29259 0.51224 -0.2956 0.51393 -0.29746 C 0.51536 -0.29884 0.51692 -0.3 0.5181 -0.30185 C 0.52304 -0.30926 0.52304 -0.30972 0.52565 -0.31667 C 0.52643 -0.325 0.52695 -0.33357 0.52812 -0.3419 C 0.52838 -0.34398 0.5319 -0.35417 0.53229 -0.35509 C 0.53307 -0.35718 0.53372 -0.35949 0.53476 -0.36111 C 0.53567 -0.3625 0.53698 -0.3632 0.53815 -0.36412 C 0.53906 -0.3706 0.53776 -0.36991 0.53984 -0.36991 " pathEditMode="relative" ptsTypes="AAAAAAAAAAAAAAAAAAAAAAAAAAAAAAAAAAAAAAAAAAAAAAAAAAAAAAAA">
                                      <p:cBhvr>
                                        <p:cTn id="14" dur="4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69 -0.01134 L 0.00169 -0.01134 C -0.0013 -0.01435 -0.00456 -0.01667 -0.00742 -0.02037 C -0.00859 -0.02176 -0.00898 -0.02431 -0.0099 -0.02616 C -0.01068 -0.02778 -0.01159 -0.02917 -0.0125 -0.03056 C -0.01276 -0.03218 -0.01276 -0.0338 -0.01328 -0.03519 C -0.01419 -0.03704 -0.01549 -0.0382 -0.01667 -0.03958 C -0.0207 -0.04468 -0.01901 -0.04167 -0.025 -0.04838 C -0.02838 -0.05232 -0.03177 -0.05602 -0.0349 -0.06019 C -0.03763 -0.06389 -0.0401 -0.06782 -0.04245 -0.07222 C -0.0487 -0.08357 -0.05794 -0.1037 -0.06575 -0.11667 C -0.07708 -0.13542 -0.06771 -0.11945 -0.07825 -0.13426 C -0.0806 -0.13773 -0.08268 -0.14144 -0.0849 -0.14468 C -0.08711 -0.14792 -0.08971 -0.15 -0.09167 -0.1537 C -0.09453 -0.15903 -0.09635 -0.16574 -0.09909 -0.1713 C -0.11029 -0.19421 -0.11302 -0.19005 -0.12578 -0.22037 C -0.12825 -0.22616 -0.13099 -0.23195 -0.13333 -0.23796 C -0.13763 -0.24977 -0.14075 -0.26273 -0.14583 -0.27361 C -0.15026 -0.28333 -0.14935 -0.2794 -0.15495 -0.28704 C -0.16055 -0.29468 -0.16003 -0.29607 -0.16575 -0.30185 C -0.16901 -0.30486 -0.17227 -0.30857 -0.17578 -0.31065 C -0.17747 -0.31157 -0.17917 -0.31204 -0.18073 -0.31366 C -0.18503 -0.31759 -0.18932 -0.32199 -0.19323 -0.32685 C -0.20104 -0.33657 -0.20182 -0.33727 -0.20911 -0.34769 C -0.21615 -0.35764 -0.21758 -0.36042 -0.22331 -0.36852 C -0.22435 -0.36991 -0.22539 -0.37176 -0.22656 -0.37292 C -0.23099 -0.37639 -0.23516 -0.38148 -0.23997 -0.38333 C -0.25755 -0.38958 -0.23867 -0.38333 -0.25742 -0.38773 C -0.28099 -0.39306 -0.25391 -0.38866 -0.27747 -0.39213 C -0.27943 -0.39352 -0.28125 -0.39537 -0.28333 -0.39653 C -0.28932 -0.4 -0.2944 -0.4 -0.30078 -0.40255 C -0.30833 -0.40556 -0.31146 -0.40926 -0.31914 -0.41296 C -0.32292 -0.41458 -0.32695 -0.41551 -0.33073 -0.41736 C -0.33398 -0.41875 -0.34635 -0.42593 -0.35078 -0.42616 C -0.37383 -0.42755 -0.39687 -0.42708 -0.41992 -0.42755 C -0.44193 -0.42708 -0.4638 -0.42755 -0.48581 -0.42616 C -0.4875 -0.42616 -0.5 -0.41921 -0.50078 -0.41875 C -0.50352 -0.41528 -0.50638 -0.41204 -0.50911 -0.40833 C -0.51081 -0.40602 -0.51237 -0.40324 -0.51406 -0.40093 C -0.52031 -0.39259 -0.51875 -0.39722 -0.525 -0.38611 C -0.52747 -0.38171 -0.53008 -0.37269 -0.53333 -0.36991 C -0.5349 -0.36852 -0.53672 -0.36736 -0.53828 -0.36551 C -0.54102 -0.36227 -0.54049 -0.36065 -0.54245 -0.35648 C -0.54323 -0.35486 -0.54414 -0.3537 -0.54492 -0.35208 C -0.54753 -0.34144 -0.54753 -0.34259 -0.54909 -0.33148 C -0.55052 -0.32107 -0.55143 -0.31042 -0.55325 -0.30023 C -0.55378 -0.29722 -0.55456 -0.29445 -0.55495 -0.29144 C -0.55586 -0.28519 -0.55625 -0.27292 -0.55664 -0.26759 C -0.5569 -0.25093 -0.55703 -0.23403 -0.55742 -0.21736 C -0.55755 -0.21042 -0.5582 -0.20347 -0.5582 -0.19653 C -0.5582 -0.17269 -0.55794 -0.11898 -0.55573 -0.08982 C -0.5556 -0.08727 -0.55443 -0.08519 -0.55417 -0.08241 C -0.55338 -0.07755 -0.55299 -0.07269 -0.55247 -0.06759 C -0.5513 -0.05833 -0.55013 -0.05162 -0.54831 -0.04259 C -0.54753 -0.03889 -0.54674 -0.03542 -0.54583 -0.03218 C -0.54505 -0.02963 -0.54388 -0.02732 -0.54323 -0.02477 C -0.54193 -0.01898 -0.53997 -0.00695 -0.53997 -0.00695 C -0.53971 -0.00347 -0.53958 7.40741E-7 -0.53906 0.00347 C -0.53854 0.00741 -0.53698 0.01111 -0.53659 0.01528 C -0.53594 0.02268 -0.5362 0.03009 -0.53581 0.0375 C -0.53568 0.03912 -0.53516 0.04051 -0.5349 0.0419 C -0.53333 0.05509 -0.53529 0.04653 -0.53242 0.05671 C -0.53151 0.06505 -0.53073 0.07292 -0.52825 0.08055 C -0.52669 0.08495 -0.52109 0.09792 -0.51823 0.10116 L -0.51575 0.10417 C -0.51549 0.10555 -0.51549 0.10741 -0.51497 0.10856 C -0.51094 0.11574 -0.51107 0.11319 -0.50742 0.11597 C -0.50625 0.1169 -0.50521 0.11782 -0.50417 0.11898 C -0.50325 0.11991 -0.50247 0.1213 -0.50156 0.12199 C -0.5 0.12315 -0.4944 0.12454 -0.49323 0.125 C -0.48294 0.12338 -0.47266 0.12315 -0.4625 0.12037 C -0.46081 0.12014 -0.45977 0.11736 -0.45833 0.11597 C -0.4569 0.11481 -0.45547 0.11435 -0.45417 0.11296 C -0.45026 0.10926 -0.44792 0.10532 -0.44414 0.10278 C -0.44245 0.10139 -0.44075 0.10069 -0.43906 0.09977 C -0.43151 0.08958 -0.44023 0.1 -0.43164 0.09375 C -0.43008 0.09259 -0.42891 0.09051 -0.42747 0.08935 C -0.42474 0.0875 -0.42187 0.08634 -0.41914 0.08495 C -0.40807 0.0787 -0.42122 0.08495 -0.40573 0.07893 C -0.40352 0.07801 -0.4013 0.07662 -0.39909 0.07593 C -0.39492 0.07477 -0.39075 0.07407 -0.38659 0.07315 C -0.38516 0.07268 -0.38385 0.07199 -0.38242 0.07153 C -0.38073 0.07106 -0.37917 0.0706 -0.37747 0.07014 C -0.37604 0.06898 -0.37461 0.06805 -0.37331 0.06713 C -0.37044 0.06528 -0.36979 0.06551 -0.36667 0.06273 C -0.3651 0.06134 -0.3638 0.05949 -0.3625 0.05833 C -0.35195 0.04815 -0.36315 0.05972 -0.35156 0.0493 C -0.34075 0.03958 -0.35404 0.04954 -0.34323 0.0419 C -0.34088 0.0368 -0.33789 0.02986 -0.3349 0.02569 C -0.3319 0.0213 -0.32838 0.01805 -0.325 0.01528 C -0.32305 0.01366 -0.32096 0.0125 -0.31914 0.01088 C -0.31185 0.00486 -0.31419 0.00486 -0.30742 0.00347 C -0.30156 0.00231 -0.2957 0.00162 -0.28997 0.00046 L -0.275 -0.00255 C -0.2668 -0.00232 -0.23138 -0.00695 -0.21328 0.00185 C -0.20937 0.00393 -0.20338 0.0088 -0.2 0.01227 C -0.1987 0.01366 -0.19779 0.01551 -0.19661 0.01667 C -0.19258 0.02083 -0.19557 0.01505 -0.19167 0.0213 C -0.18984 0.02407 -0.18828 0.02708 -0.18659 0.03009 C -0.18581 0.03148 -0.18516 0.03356 -0.18411 0.03449 C -0.18216 0.03657 -0.18021 0.03866 -0.17825 0.04051 C -0.175 0.04352 -0.17122 0.04537 -0.16823 0.0493 C -0.16719 0.05093 -0.16615 0.05255 -0.16497 0.0537 C -0.16172 0.05694 -0.15833 0.05972 -0.15495 0.06273 L -0.14661 0.07014 C -0.14492 0.07153 -0.14323 0.07268 -0.14167 0.07454 C -0.1362 0.08079 -0.12474 0.09491 -0.11823 0.09815 C -0.11354 0.10069 -0.10898 0.1044 -0.10417 0.10555 C -0.10026 0.10671 -0.09635 0.10718 -0.09245 0.10856 C -0.08971 0.10949 -0.08685 0.11065 -0.08411 0.11157 C -0.08073 0.1125 -0.07734 0.11296 -0.07409 0.11458 C -0.07083 0.11597 -0.06758 0.11829 -0.06406 0.11898 C -0.04909 0.12153 -0.05859 0.12014 -0.03581 0.12199 L -0.00742 0.12037 C -0.00469 0.12014 -0.00182 0.11991 0.00091 0.11898 C 0.01016 0.11597 0.0026 0.11736 0.00833 0.11296 C 0.00951 0.11227 0.01055 0.11204 0.01172 0.11157 C 0.0125 0.11065 0.01328 0.10926 0.01419 0.10856 C 0.01589 0.10741 0.01927 0.10555 0.01927 0.10555 C 0.01979 0.10417 0.02018 0.10255 0.02083 0.10116 C 0.02383 0.09606 0.02526 0.09676 0.02669 0.09074 C 0.02865 0.08333 0.028 0.08148 0.03008 0.07454 C 0.03477 0.05903 0.03359 0.06366 0.0375 0.0537 C 0.03815 0.05231 0.03854 0.05069 0.03919 0.0493 C 0.03997 0.04768 0.04102 0.04653 0.04167 0.04491 C 0.04232 0.04352 0.04284 0.0419 0.04336 0.04051 C 0.0444 0.03796 0.04557 0.03542 0.04675 0.0331 C 0.04701 0.03102 0.04714 0.02893 0.04753 0.02708 C 0.04883 0.02199 0.05169 0.01227 0.05169 0.01227 C 0.05195 0.00972 0.05195 0.00718 0.0526 0.00486 C 0.05404 -0.00116 0.05755 -0.01296 0.05755 -0.01296 C 0.05781 -0.01644 0.05807 -0.01991 0.05833 -0.02315 C 0.05912 -0.02986 0.05977 -0.03079 0.06094 -0.03796 C 0.06185 -0.04398 0.06276 -0.04977 0.06341 -0.05579 C 0.06523 -0.07199 0.06237 -0.0632 0.06667 -0.07361 C 0.06758 -0.08102 0.06836 -0.08843 0.06927 -0.09583 C 0.06979 -0.10023 0.07044 -0.10463 0.07083 -0.10926 C 0.07122 -0.11204 0.07135 -0.11505 0.07175 -0.11806 C 0.0724 -0.12315 0.07344 -0.12801 0.07422 -0.13287 C 0.07565 -0.15232 0.07357 -0.13773 0.07917 -0.15648 C 0.08047 -0.16088 0.08138 -0.16551 0.08255 -0.16991 C 0.08333 -0.17292 0.08412 -0.17593 0.08503 -0.1787 C 0.08763 -0.18704 0.0918 -0.19861 0.09336 -0.20695 C 0.09388 -0.20995 0.09453 -0.21273 0.09505 -0.21574 C 0.0957 -0.21968 0.09609 -0.22384 0.09675 -0.22778 C 0.09844 -0.23773 0.09922 -0.23958 0.10169 -0.24838 C 0.10221 -0.25324 0.10313 -0.2581 0.10339 -0.2632 C 0.10365 -0.26921 0.10365 -0.27523 0.10417 -0.28102 C 0.10443 -0.2831 0.10573 -0.28472 0.10586 -0.28704 C 0.10625 -0.29144 0.10586 -0.29583 0.10586 -0.30023 " pathEditMode="relative" ptsTypes="AAAAAAAAAAAAAAAAAAAAAAAAAAAAAAAAAAAAAAAAAAAAAAAAAAAAAAAAAAAAAAAAAAAAAAAAAAAAAAAAAAAAAAAAAAAAAAAAAAAAAAAAAAAAAAAAAAAAAAAAAAAAAAAAAAAAAAAAAAAAAAAAAAAAAA">
                                      <p:cBhvr>
                                        <p:cTn id="16" dur="5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Overview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3789814"/>
            <a:ext cx="2160000" cy="3742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47251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9" name="Hexagon 60">
            <a:extLst>
              <a:ext uri="{FF2B5EF4-FFF2-40B4-BE49-F238E27FC236}">
                <a16:creationId xmlns:a16="http://schemas.microsoft.com/office/drawing/2014/main" id="{24AA19EE-F311-8969-97B3-81D46694810D}"/>
              </a:ext>
            </a:extLst>
          </p:cNvPr>
          <p:cNvSpPr/>
          <p:nvPr/>
        </p:nvSpPr>
        <p:spPr bwMode="gray">
          <a:xfrm>
            <a:off x="5958995" y="2199022"/>
            <a:ext cx="2133285" cy="1839039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3" name="Rectangle 64">
            <a:extLst>
              <a:ext uri="{FF2B5EF4-FFF2-40B4-BE49-F238E27FC236}">
                <a16:creationId xmlns:a16="http://schemas.microsoft.com/office/drawing/2014/main" id="{8FBC690C-FE8E-4EAB-34D8-6A44A3B72C60}"/>
              </a:ext>
            </a:extLst>
          </p:cNvPr>
          <p:cNvSpPr/>
          <p:nvPr/>
        </p:nvSpPr>
        <p:spPr>
          <a:xfrm>
            <a:off x="7951157" y="2632444"/>
            <a:ext cx="152067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Shepherd / Dog</a:t>
            </a:r>
          </a:p>
        </p:txBody>
      </p:sp>
      <p:sp>
        <p:nvSpPr>
          <p:cNvPr id="84" name="Rectangle 65">
            <a:extLst>
              <a:ext uri="{FF2B5EF4-FFF2-40B4-BE49-F238E27FC236}">
                <a16:creationId xmlns:a16="http://schemas.microsoft.com/office/drawing/2014/main" id="{0D6392DE-49B7-1447-3703-CC33D3C6404C}"/>
              </a:ext>
            </a:extLst>
          </p:cNvPr>
          <p:cNvSpPr/>
          <p:nvPr/>
        </p:nvSpPr>
        <p:spPr>
          <a:xfrm>
            <a:off x="7951157" y="2925306"/>
            <a:ext cx="29518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Movement </a:t>
            </a:r>
            <a:r>
              <a:rPr lang="de-DE" sz="1400" dirty="0" err="1">
                <a:solidFill>
                  <a:prstClr val="black"/>
                </a:solidFill>
              </a:rPr>
              <a:t>based</a:t>
            </a:r>
            <a:r>
              <a:rPr lang="de-DE" sz="1400" dirty="0">
                <a:solidFill>
                  <a:prstClr val="black"/>
                </a:solidFill>
              </a:rPr>
              <a:t> on </a:t>
            </a:r>
            <a:r>
              <a:rPr lang="de-DE" sz="1400" dirty="0" err="1">
                <a:solidFill>
                  <a:prstClr val="black"/>
                </a:solidFill>
              </a:rPr>
              <a:t>Objective</a:t>
            </a:r>
            <a:r>
              <a:rPr lang="de-DE" sz="1400" dirty="0">
                <a:solidFill>
                  <a:prstClr val="black"/>
                </a:solidFill>
              </a:rPr>
              <a:t> </a:t>
            </a:r>
            <a:r>
              <a:rPr lang="de-DE" sz="1400" dirty="0" err="1">
                <a:solidFill>
                  <a:prstClr val="black"/>
                </a:solidFill>
              </a:rPr>
              <a:t>Function</a:t>
            </a:r>
            <a:endParaRPr lang="de-DE" sz="14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itial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Shepherd</a:t>
            </a: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4029738" y="3325424"/>
            <a:ext cx="2133285" cy="1839039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Pentagon 34">
            <a:extLst>
              <a:ext uri="{FF2B5EF4-FFF2-40B4-BE49-F238E27FC236}">
                <a16:creationId xmlns:a16="http://schemas.microsoft.com/office/drawing/2014/main" id="{2E13B419-D8EF-AEF4-BB3F-FCF8F77E0956}"/>
              </a:ext>
            </a:extLst>
          </p:cNvPr>
          <p:cNvSpPr/>
          <p:nvPr/>
        </p:nvSpPr>
        <p:spPr bwMode="gray">
          <a:xfrm>
            <a:off x="597673" y="3606124"/>
            <a:ext cx="525735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3699505"/>
            <a:ext cx="219682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>
                <a:solidFill>
                  <a:srgbClr val="0D8390"/>
                </a:solidFill>
              </a:rPr>
              <a:t>Agents</a:t>
            </a:r>
            <a:r>
              <a:rPr lang="de-DE" sz="1600" b="1" dirty="0">
                <a:solidFill>
                  <a:srgbClr val="0D8390"/>
                </a:solidFill>
              </a:rPr>
              <a:t> / </a:t>
            </a:r>
            <a:r>
              <a:rPr lang="de-DE" sz="1600" b="1" dirty="0" err="1">
                <a:solidFill>
                  <a:srgbClr val="0D8390"/>
                </a:solidFill>
              </a:rPr>
              <a:t>Sheeps</a:t>
            </a:r>
            <a:r>
              <a:rPr lang="de-DE" sz="1600" b="1" dirty="0">
                <a:solidFill>
                  <a:srgbClr val="0D8390"/>
                </a:solidFill>
              </a:rPr>
              <a:t> / Herd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2" name="Rectangle 79">
                <a:extLst>
                  <a:ext uri="{FF2B5EF4-FFF2-40B4-BE49-F238E27FC236}">
                    <a16:creationId xmlns:a16="http://schemas.microsoft.com/office/drawing/2014/main" id="{B5652194-27C9-1428-3825-7C33B4BFD22D}"/>
                  </a:ext>
                </a:extLst>
              </p:cNvPr>
              <p:cNvSpPr/>
              <p:nvPr/>
            </p:nvSpPr>
            <p:spPr>
              <a:xfrm>
                <a:off x="881443" y="3977552"/>
                <a:ext cx="2951805" cy="11695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  <a:defRPr/>
                </a:pPr>
                <a:r>
                  <a:rPr lang="de-DE" sz="1400" dirty="0"/>
                  <a:t>Consists </a:t>
                </a:r>
                <a:r>
                  <a:rPr lang="de-DE" sz="1400" dirty="0" err="1"/>
                  <a:t>of</a:t>
                </a:r>
                <a:r>
                  <a:rPr lang="de-DE" sz="1400" dirty="0"/>
                  <a:t> </a:t>
                </a:r>
                <a14:m>
                  <m:oMath xmlns:m="http://schemas.openxmlformats.org/officeDocument/2006/math">
                    <m:r>
                      <a:rPr lang="de-DE" sz="1400" i="1" dirty="0" smtClean="0">
                        <a:latin typeface="Cambria Math" panose="02040503050406030204" pitchFamily="18" charset="0"/>
                      </a:rPr>
                      <m:t>𝑁</m:t>
                    </m:r>
                    <m:r>
                      <a:rPr lang="de-DE" sz="1400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dirty="0" err="1"/>
                  <a:t>Agents</a:t>
                </a:r>
                <a:endParaRPr lang="de-DE" sz="1400" dirty="0"/>
              </a:p>
              <a:p>
                <a:pPr marL="285750" indent="-285750">
                  <a:buFont typeface="Arial" panose="020B0604020202020204" pitchFamily="34" charset="0"/>
                  <a:buChar char="•"/>
                  <a:defRPr/>
                </a:pPr>
                <a:r>
                  <a:rPr lang="de-DE" sz="1400" dirty="0"/>
                  <a:t>Move in a </a:t>
                </a:r>
                <a:r>
                  <a:rPr lang="de-DE" sz="1400" dirty="0" err="1"/>
                  <a:t>two</a:t>
                </a:r>
                <a:r>
                  <a:rPr lang="de-DE" sz="1400" dirty="0"/>
                  <a:t> dimensional Field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de-DE" sz="1400" dirty="0"/>
                  <a:t>Movement </a:t>
                </a:r>
                <a:r>
                  <a:rPr lang="de-DE" sz="1400" dirty="0" err="1"/>
                  <a:t>based</a:t>
                </a:r>
                <a:r>
                  <a:rPr lang="de-DE" sz="1400" dirty="0"/>
                  <a:t> on Reynolds’ </a:t>
                </a:r>
                <a:r>
                  <a:rPr lang="de-DE" sz="1400" dirty="0" err="1"/>
                  <a:t>Boids</a:t>
                </a:r>
                <a:r>
                  <a:rPr lang="de-DE" sz="1400" dirty="0"/>
                  <a:t> Model</a:t>
                </a:r>
              </a:p>
              <a:p>
                <a:pPr marR="0" lvl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endPara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72" name="Rectangle 79">
                <a:extLst>
                  <a:ext uri="{FF2B5EF4-FFF2-40B4-BE49-F238E27FC236}">
                    <a16:creationId xmlns:a16="http://schemas.microsoft.com/office/drawing/2014/main" id="{B5652194-27C9-1428-3825-7C33B4BFD22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1443" y="3977552"/>
                <a:ext cx="2951805" cy="1169551"/>
              </a:xfrm>
              <a:prstGeom prst="rect">
                <a:avLst/>
              </a:prstGeom>
              <a:blipFill>
                <a:blip r:embed="rId4"/>
                <a:stretch>
                  <a:fillRect l="-413" t="-52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9B3CFD9B-7095-43F8-4FE5-2D6DBF676374}"/>
              </a:ext>
            </a:extLst>
          </p:cNvPr>
          <p:cNvSpPr/>
          <p:nvPr/>
        </p:nvSpPr>
        <p:spPr>
          <a:xfrm>
            <a:off x="6607066" y="2861365"/>
            <a:ext cx="837670" cy="514970"/>
          </a:xfrm>
          <a:custGeom>
            <a:avLst/>
            <a:gdLst>
              <a:gd name="connsiteX0" fmla="*/ 778616 w 837670"/>
              <a:gd name="connsiteY0" fmla="*/ 59055 h 514970"/>
              <a:gd name="connsiteX1" fmla="*/ 704321 w 837670"/>
              <a:gd name="connsiteY1" fmla="*/ 0 h 514970"/>
              <a:gd name="connsiteX2" fmla="*/ 651933 w 837670"/>
              <a:gd name="connsiteY2" fmla="*/ 0 h 514970"/>
              <a:gd name="connsiteX3" fmla="*/ 641456 w 837670"/>
              <a:gd name="connsiteY3" fmla="*/ 60960 h 514970"/>
              <a:gd name="connsiteX4" fmla="*/ 643361 w 837670"/>
              <a:gd name="connsiteY4" fmla="*/ 79057 h 514970"/>
              <a:gd name="connsiteX5" fmla="*/ 664316 w 837670"/>
              <a:gd name="connsiteY5" fmla="*/ 95250 h 514970"/>
              <a:gd name="connsiteX6" fmla="*/ 690033 w 837670"/>
              <a:gd name="connsiteY6" fmla="*/ 86678 h 514970"/>
              <a:gd name="connsiteX7" fmla="*/ 697653 w 837670"/>
              <a:gd name="connsiteY7" fmla="*/ 70485 h 514970"/>
              <a:gd name="connsiteX8" fmla="*/ 704321 w 837670"/>
              <a:gd name="connsiteY8" fmla="*/ 34290 h 514970"/>
              <a:gd name="connsiteX9" fmla="*/ 715751 w 837670"/>
              <a:gd name="connsiteY9" fmla="*/ 26670 h 514970"/>
              <a:gd name="connsiteX10" fmla="*/ 723371 w 837670"/>
              <a:gd name="connsiteY10" fmla="*/ 38100 h 514970"/>
              <a:gd name="connsiteX11" fmla="*/ 717656 w 837670"/>
              <a:gd name="connsiteY11" fmla="*/ 73343 h 514970"/>
              <a:gd name="connsiteX12" fmla="*/ 696701 w 837670"/>
              <a:gd name="connsiteY12" fmla="*/ 106680 h 514970"/>
              <a:gd name="connsiteX13" fmla="*/ 670031 w 837670"/>
              <a:gd name="connsiteY13" fmla="*/ 114300 h 514970"/>
              <a:gd name="connsiteX14" fmla="*/ 661458 w 837670"/>
              <a:gd name="connsiteY14" fmla="*/ 113348 h 514970"/>
              <a:gd name="connsiteX15" fmla="*/ 628121 w 837670"/>
              <a:gd name="connsiteY15" fmla="*/ 90488 h 514970"/>
              <a:gd name="connsiteX16" fmla="*/ 622406 w 837670"/>
              <a:gd name="connsiteY16" fmla="*/ 57150 h 514970"/>
              <a:gd name="connsiteX17" fmla="*/ 630978 w 837670"/>
              <a:gd name="connsiteY17" fmla="*/ 6668 h 514970"/>
              <a:gd name="connsiteX18" fmla="*/ 564303 w 837670"/>
              <a:gd name="connsiteY18" fmla="*/ 80010 h 514970"/>
              <a:gd name="connsiteX19" fmla="*/ 509058 w 837670"/>
              <a:gd name="connsiteY19" fmla="*/ 104775 h 514970"/>
              <a:gd name="connsiteX20" fmla="*/ 237596 w 837670"/>
              <a:gd name="connsiteY20" fmla="*/ 104775 h 514970"/>
              <a:gd name="connsiteX21" fmla="*/ 172826 w 837670"/>
              <a:gd name="connsiteY21" fmla="*/ 130493 h 514970"/>
              <a:gd name="connsiteX22" fmla="*/ 53763 w 837670"/>
              <a:gd name="connsiteY22" fmla="*/ 53340 h 514970"/>
              <a:gd name="connsiteX23" fmla="*/ 15663 w 837670"/>
              <a:gd name="connsiteY23" fmla="*/ 40957 h 514970"/>
              <a:gd name="connsiteX24" fmla="*/ 4233 w 837670"/>
              <a:gd name="connsiteY24" fmla="*/ 80963 h 514970"/>
              <a:gd name="connsiteX25" fmla="*/ 145203 w 837670"/>
              <a:gd name="connsiteY25" fmla="*/ 182880 h 514970"/>
              <a:gd name="connsiteX26" fmla="*/ 142346 w 837670"/>
              <a:gd name="connsiteY26" fmla="*/ 200025 h 514970"/>
              <a:gd name="connsiteX27" fmla="*/ 142346 w 837670"/>
              <a:gd name="connsiteY27" fmla="*/ 484823 h 514970"/>
              <a:gd name="connsiteX28" fmla="*/ 165206 w 837670"/>
              <a:gd name="connsiteY28" fmla="*/ 514350 h 514970"/>
              <a:gd name="connsiteX29" fmla="*/ 199496 w 837670"/>
              <a:gd name="connsiteY29" fmla="*/ 486728 h 514970"/>
              <a:gd name="connsiteX30" fmla="*/ 199496 w 837670"/>
              <a:gd name="connsiteY30" fmla="*/ 304800 h 514970"/>
              <a:gd name="connsiteX31" fmla="*/ 329036 w 837670"/>
              <a:gd name="connsiteY31" fmla="*/ 304800 h 514970"/>
              <a:gd name="connsiteX32" fmla="*/ 428096 w 837670"/>
              <a:gd name="connsiteY32" fmla="*/ 333375 h 514970"/>
              <a:gd name="connsiteX33" fmla="*/ 466196 w 837670"/>
              <a:gd name="connsiteY33" fmla="*/ 333375 h 514970"/>
              <a:gd name="connsiteX34" fmla="*/ 466196 w 837670"/>
              <a:gd name="connsiteY34" fmla="*/ 483870 h 514970"/>
              <a:gd name="connsiteX35" fmla="*/ 492866 w 837670"/>
              <a:gd name="connsiteY35" fmla="*/ 514350 h 514970"/>
              <a:gd name="connsiteX36" fmla="*/ 523346 w 837670"/>
              <a:gd name="connsiteY36" fmla="*/ 485775 h 514970"/>
              <a:gd name="connsiteX37" fmla="*/ 523346 w 837670"/>
              <a:gd name="connsiteY37" fmla="*/ 333375 h 514970"/>
              <a:gd name="connsiteX38" fmla="*/ 561446 w 837670"/>
              <a:gd name="connsiteY38" fmla="*/ 333375 h 514970"/>
              <a:gd name="connsiteX39" fmla="*/ 561446 w 837670"/>
              <a:gd name="connsiteY39" fmla="*/ 484823 h 514970"/>
              <a:gd name="connsiteX40" fmla="*/ 584306 w 837670"/>
              <a:gd name="connsiteY40" fmla="*/ 514350 h 514970"/>
              <a:gd name="connsiteX41" fmla="*/ 618596 w 837670"/>
              <a:gd name="connsiteY41" fmla="*/ 486728 h 514970"/>
              <a:gd name="connsiteX42" fmla="*/ 618596 w 837670"/>
              <a:gd name="connsiteY42" fmla="*/ 309563 h 514970"/>
              <a:gd name="connsiteX43" fmla="*/ 656696 w 837670"/>
              <a:gd name="connsiteY43" fmla="*/ 238125 h 514970"/>
              <a:gd name="connsiteX44" fmla="*/ 694796 w 837670"/>
              <a:gd name="connsiteY44" fmla="*/ 142875 h 514970"/>
              <a:gd name="connsiteX45" fmla="*/ 780521 w 837670"/>
              <a:gd name="connsiteY45" fmla="*/ 142875 h 514970"/>
              <a:gd name="connsiteX46" fmla="*/ 837671 w 837670"/>
              <a:gd name="connsiteY46" fmla="*/ 85725 h 514970"/>
              <a:gd name="connsiteX47" fmla="*/ 778616 w 837670"/>
              <a:gd name="connsiteY47" fmla="*/ 59055 h 51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7670" h="514970">
                <a:moveTo>
                  <a:pt x="778616" y="59055"/>
                </a:moveTo>
                <a:cubicBezTo>
                  <a:pt x="770996" y="25718"/>
                  <a:pt x="740516" y="0"/>
                  <a:pt x="704321" y="0"/>
                </a:cubicBezTo>
                <a:lnTo>
                  <a:pt x="651933" y="0"/>
                </a:lnTo>
                <a:lnTo>
                  <a:pt x="641456" y="60960"/>
                </a:lnTo>
                <a:cubicBezTo>
                  <a:pt x="640503" y="66675"/>
                  <a:pt x="640503" y="73343"/>
                  <a:pt x="643361" y="79057"/>
                </a:cubicBezTo>
                <a:cubicBezTo>
                  <a:pt x="647171" y="87630"/>
                  <a:pt x="655743" y="93345"/>
                  <a:pt x="664316" y="95250"/>
                </a:cubicBezTo>
                <a:cubicBezTo>
                  <a:pt x="673841" y="97155"/>
                  <a:pt x="683366" y="94298"/>
                  <a:pt x="690033" y="86678"/>
                </a:cubicBezTo>
                <a:cubicBezTo>
                  <a:pt x="693843" y="81915"/>
                  <a:pt x="696701" y="76200"/>
                  <a:pt x="697653" y="70485"/>
                </a:cubicBezTo>
                <a:lnTo>
                  <a:pt x="704321" y="34290"/>
                </a:lnTo>
                <a:cubicBezTo>
                  <a:pt x="705273" y="29528"/>
                  <a:pt x="710036" y="25718"/>
                  <a:pt x="715751" y="26670"/>
                </a:cubicBezTo>
                <a:cubicBezTo>
                  <a:pt x="720513" y="27622"/>
                  <a:pt x="724323" y="32385"/>
                  <a:pt x="723371" y="38100"/>
                </a:cubicBezTo>
                <a:lnTo>
                  <a:pt x="717656" y="73343"/>
                </a:lnTo>
                <a:cubicBezTo>
                  <a:pt x="715751" y="86678"/>
                  <a:pt x="708131" y="99060"/>
                  <a:pt x="696701" y="106680"/>
                </a:cubicBezTo>
                <a:cubicBezTo>
                  <a:pt x="689081" y="112395"/>
                  <a:pt x="679556" y="114300"/>
                  <a:pt x="670031" y="114300"/>
                </a:cubicBezTo>
                <a:cubicBezTo>
                  <a:pt x="667173" y="114300"/>
                  <a:pt x="664316" y="114300"/>
                  <a:pt x="661458" y="113348"/>
                </a:cubicBezTo>
                <a:cubicBezTo>
                  <a:pt x="647171" y="110490"/>
                  <a:pt x="635741" y="102870"/>
                  <a:pt x="628121" y="90488"/>
                </a:cubicBezTo>
                <a:cubicBezTo>
                  <a:pt x="622406" y="80010"/>
                  <a:pt x="620501" y="68580"/>
                  <a:pt x="622406" y="57150"/>
                </a:cubicBezTo>
                <a:lnTo>
                  <a:pt x="630978" y="6668"/>
                </a:lnTo>
                <a:lnTo>
                  <a:pt x="564303" y="80010"/>
                </a:lnTo>
                <a:cubicBezTo>
                  <a:pt x="550968" y="95250"/>
                  <a:pt x="530013" y="104775"/>
                  <a:pt x="509058" y="104775"/>
                </a:cubicBezTo>
                <a:lnTo>
                  <a:pt x="237596" y="104775"/>
                </a:lnTo>
                <a:cubicBezTo>
                  <a:pt x="212831" y="104775"/>
                  <a:pt x="189971" y="114300"/>
                  <a:pt x="172826" y="130493"/>
                </a:cubicBezTo>
                <a:cubicBezTo>
                  <a:pt x="140441" y="124777"/>
                  <a:pt x="86148" y="107632"/>
                  <a:pt x="53763" y="53340"/>
                </a:cubicBezTo>
                <a:cubicBezTo>
                  <a:pt x="46143" y="40005"/>
                  <a:pt x="28998" y="34290"/>
                  <a:pt x="15663" y="40957"/>
                </a:cubicBezTo>
                <a:cubicBezTo>
                  <a:pt x="423" y="48578"/>
                  <a:pt x="-4339" y="66675"/>
                  <a:pt x="4233" y="80963"/>
                </a:cubicBezTo>
                <a:cubicBezTo>
                  <a:pt x="42333" y="145733"/>
                  <a:pt x="101388" y="171450"/>
                  <a:pt x="145203" y="182880"/>
                </a:cubicBezTo>
                <a:cubicBezTo>
                  <a:pt x="143298" y="188595"/>
                  <a:pt x="142346" y="194310"/>
                  <a:pt x="142346" y="200025"/>
                </a:cubicBezTo>
                <a:lnTo>
                  <a:pt x="142346" y="484823"/>
                </a:lnTo>
                <a:cubicBezTo>
                  <a:pt x="142346" y="499110"/>
                  <a:pt x="151871" y="511492"/>
                  <a:pt x="165206" y="514350"/>
                </a:cubicBezTo>
                <a:cubicBezTo>
                  <a:pt x="183303" y="518160"/>
                  <a:pt x="199496" y="503873"/>
                  <a:pt x="199496" y="486728"/>
                </a:cubicBezTo>
                <a:lnTo>
                  <a:pt x="199496" y="304800"/>
                </a:lnTo>
                <a:lnTo>
                  <a:pt x="329036" y="304800"/>
                </a:lnTo>
                <a:cubicBezTo>
                  <a:pt x="349038" y="321945"/>
                  <a:pt x="385233" y="333375"/>
                  <a:pt x="428096" y="333375"/>
                </a:cubicBezTo>
                <a:cubicBezTo>
                  <a:pt x="428096" y="333375"/>
                  <a:pt x="444288" y="333375"/>
                  <a:pt x="466196" y="333375"/>
                </a:cubicBezTo>
                <a:lnTo>
                  <a:pt x="466196" y="483870"/>
                </a:lnTo>
                <a:cubicBezTo>
                  <a:pt x="466196" y="499110"/>
                  <a:pt x="477626" y="513398"/>
                  <a:pt x="492866" y="514350"/>
                </a:cubicBezTo>
                <a:cubicBezTo>
                  <a:pt x="509058" y="515303"/>
                  <a:pt x="523346" y="501967"/>
                  <a:pt x="523346" y="485775"/>
                </a:cubicBezTo>
                <a:lnTo>
                  <a:pt x="523346" y="333375"/>
                </a:lnTo>
                <a:lnTo>
                  <a:pt x="561446" y="333375"/>
                </a:lnTo>
                <a:lnTo>
                  <a:pt x="561446" y="484823"/>
                </a:lnTo>
                <a:cubicBezTo>
                  <a:pt x="561446" y="499110"/>
                  <a:pt x="570971" y="511492"/>
                  <a:pt x="584306" y="514350"/>
                </a:cubicBezTo>
                <a:cubicBezTo>
                  <a:pt x="602403" y="518160"/>
                  <a:pt x="618596" y="503873"/>
                  <a:pt x="618596" y="486728"/>
                </a:cubicBezTo>
                <a:lnTo>
                  <a:pt x="618596" y="309563"/>
                </a:lnTo>
                <a:cubicBezTo>
                  <a:pt x="641456" y="280988"/>
                  <a:pt x="656696" y="238125"/>
                  <a:pt x="656696" y="238125"/>
                </a:cubicBezTo>
                <a:lnTo>
                  <a:pt x="694796" y="142875"/>
                </a:lnTo>
                <a:lnTo>
                  <a:pt x="780521" y="142875"/>
                </a:lnTo>
                <a:cubicBezTo>
                  <a:pt x="811953" y="142875"/>
                  <a:pt x="837671" y="117157"/>
                  <a:pt x="837671" y="85725"/>
                </a:cubicBezTo>
                <a:lnTo>
                  <a:pt x="778616" y="5905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5" name="Freihandform: Form 114">
            <a:extLst>
              <a:ext uri="{FF2B5EF4-FFF2-40B4-BE49-F238E27FC236}">
                <a16:creationId xmlns:a16="http://schemas.microsoft.com/office/drawing/2014/main" id="{DED4C6C1-34B4-6EB4-4AC9-75DDF05883B4}"/>
              </a:ext>
            </a:extLst>
          </p:cNvPr>
          <p:cNvSpPr/>
          <p:nvPr/>
        </p:nvSpPr>
        <p:spPr>
          <a:xfrm>
            <a:off x="6844662" y="3175690"/>
            <a:ext cx="57150" cy="190500"/>
          </a:xfrm>
          <a:custGeom>
            <a:avLst/>
            <a:gdLst>
              <a:gd name="connsiteX0" fmla="*/ 0 w 57150"/>
              <a:gd name="connsiteY0" fmla="*/ 161925 h 190500"/>
              <a:gd name="connsiteX1" fmla="*/ 28575 w 57150"/>
              <a:gd name="connsiteY1" fmla="*/ 190500 h 190500"/>
              <a:gd name="connsiteX2" fmla="*/ 57150 w 57150"/>
              <a:gd name="connsiteY2" fmla="*/ 161925 h 190500"/>
              <a:gd name="connsiteX3" fmla="*/ 57150 w 57150"/>
              <a:gd name="connsiteY3" fmla="*/ 0 h 190500"/>
              <a:gd name="connsiteX4" fmla="*/ 0 w 57150"/>
              <a:gd name="connsiteY4" fmla="*/ 0 h 190500"/>
              <a:gd name="connsiteX5" fmla="*/ 0 w 57150"/>
              <a:gd name="connsiteY5" fmla="*/ 161925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50" h="190500">
                <a:moveTo>
                  <a:pt x="0" y="161925"/>
                </a:moveTo>
                <a:cubicBezTo>
                  <a:pt x="0" y="178117"/>
                  <a:pt x="12382" y="190500"/>
                  <a:pt x="28575" y="190500"/>
                </a:cubicBezTo>
                <a:cubicBezTo>
                  <a:pt x="44768" y="190500"/>
                  <a:pt x="57150" y="178117"/>
                  <a:pt x="57150" y="161925"/>
                </a:cubicBezTo>
                <a:lnTo>
                  <a:pt x="57150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56CA8B65-B543-1ED9-5F4A-18DF99509B57}"/>
              </a:ext>
            </a:extLst>
          </p:cNvPr>
          <p:cNvSpPr/>
          <p:nvPr/>
        </p:nvSpPr>
        <p:spPr>
          <a:xfrm>
            <a:off x="4648803" y="3918629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01B4D5F9-7BFF-A84D-3D38-E88685DF67B2}"/>
              </a:ext>
            </a:extLst>
          </p:cNvPr>
          <p:cNvSpPr/>
          <p:nvPr/>
        </p:nvSpPr>
        <p:spPr>
          <a:xfrm>
            <a:off x="4804135" y="4272254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F07CD663-708F-8BF0-A46D-F1B88575F5AD}"/>
              </a:ext>
            </a:extLst>
          </p:cNvPr>
          <p:cNvSpPr/>
          <p:nvPr/>
        </p:nvSpPr>
        <p:spPr>
          <a:xfrm>
            <a:off x="4968010" y="4295541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4853555" y="4225723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0" name="Freihandform: Form 109">
            <a:extLst>
              <a:ext uri="{FF2B5EF4-FFF2-40B4-BE49-F238E27FC236}">
                <a16:creationId xmlns:a16="http://schemas.microsoft.com/office/drawing/2014/main" id="{841EC66F-FC8C-1C6C-1351-213E44B044D2}"/>
              </a:ext>
            </a:extLst>
          </p:cNvPr>
          <p:cNvSpPr/>
          <p:nvPr/>
        </p:nvSpPr>
        <p:spPr>
          <a:xfrm>
            <a:off x="5008887" y="4579348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812C3ADA-3AAA-83B1-7847-A9C781AC475B}"/>
              </a:ext>
            </a:extLst>
          </p:cNvPr>
          <p:cNvSpPr/>
          <p:nvPr/>
        </p:nvSpPr>
        <p:spPr>
          <a:xfrm>
            <a:off x="5172762" y="4602635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</a:t>
            </a:r>
          </a:p>
        </p:txBody>
      </p:sp>
      <p:sp>
        <p:nvSpPr>
          <p:cNvPr id="116" name="Rectangle 79">
            <a:extLst>
              <a:ext uri="{FF2B5EF4-FFF2-40B4-BE49-F238E27FC236}">
                <a16:creationId xmlns:a16="http://schemas.microsoft.com/office/drawing/2014/main" id="{34094A0E-465F-1ED5-C497-19C7BF0A62C3}"/>
              </a:ext>
            </a:extLst>
          </p:cNvPr>
          <p:cNvSpPr/>
          <p:nvPr/>
        </p:nvSpPr>
        <p:spPr>
          <a:xfrm>
            <a:off x="881443" y="1663585"/>
            <a:ext cx="2951805" cy="523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sz="1400" dirty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10294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60274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Agent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– </a:t>
            </a:r>
            <a:r>
              <a:rPr lang="de-DE" sz="2800" dirty="0" err="1"/>
              <a:t>Behaviour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Agents</a:t>
            </a:r>
            <a:endParaRPr lang="de-DE" sz="28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D7264E-83BF-0DDC-2431-E6C675109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018" y="1880407"/>
            <a:ext cx="6863809" cy="571134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E92A5318-A8E2-1A4D-FC57-1498719C53B0}"/>
              </a:ext>
            </a:extLst>
          </p:cNvPr>
          <p:cNvSpPr/>
          <p:nvPr/>
        </p:nvSpPr>
        <p:spPr bwMode="gray">
          <a:xfrm>
            <a:off x="1654629" y="1880407"/>
            <a:ext cx="4299851" cy="3344736"/>
          </a:xfrm>
          <a:prstGeom prst="rect">
            <a:avLst/>
          </a:prstGeom>
          <a:solidFill>
            <a:srgbClr val="0D8390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C66EEE7C-C6D7-D23E-B53F-8226A1B22563}"/>
              </a:ext>
            </a:extLst>
          </p:cNvPr>
          <p:cNvSpPr/>
          <p:nvPr/>
        </p:nvSpPr>
        <p:spPr bwMode="gray">
          <a:xfrm>
            <a:off x="6035704" y="1880407"/>
            <a:ext cx="2694827" cy="3344736"/>
          </a:xfrm>
          <a:prstGeom prst="rect">
            <a:avLst/>
          </a:prstGeom>
          <a:solidFill>
            <a:srgbClr val="046A38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1410067-C896-B916-E1DF-5B8176307AA2}"/>
              </a:ext>
            </a:extLst>
          </p:cNvPr>
          <p:cNvCxnSpPr>
            <a:cxnSpLocks/>
          </p:cNvCxnSpPr>
          <p:nvPr/>
        </p:nvCxnSpPr>
        <p:spPr>
          <a:xfrm rot="10800000">
            <a:off x="2264230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196A370-EB53-E831-6815-55D28C21422E}"/>
              </a:ext>
            </a:extLst>
          </p:cNvPr>
          <p:cNvSpPr txBox="1"/>
          <p:nvPr/>
        </p:nvSpPr>
        <p:spPr>
          <a:xfrm>
            <a:off x="1791004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Alignment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28E72B6-D51D-EAFA-576F-37DA46ACB9B0}"/>
              </a:ext>
            </a:extLst>
          </p:cNvPr>
          <p:cNvCxnSpPr>
            <a:cxnSpLocks/>
          </p:cNvCxnSpPr>
          <p:nvPr/>
        </p:nvCxnSpPr>
        <p:spPr>
          <a:xfrm rot="10800000">
            <a:off x="3709099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CB47800D-5F21-3091-8989-A7521D639921}"/>
              </a:ext>
            </a:extLst>
          </p:cNvPr>
          <p:cNvSpPr txBox="1"/>
          <p:nvPr/>
        </p:nvSpPr>
        <p:spPr>
          <a:xfrm>
            <a:off x="3058879" y="3934768"/>
            <a:ext cx="14884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Repulsion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B58C822-901A-75B9-3722-0B315CF6F78B}"/>
              </a:ext>
            </a:extLst>
          </p:cNvPr>
          <p:cNvCxnSpPr>
            <a:cxnSpLocks/>
          </p:cNvCxnSpPr>
          <p:nvPr/>
        </p:nvCxnSpPr>
        <p:spPr>
          <a:xfrm rot="10800000">
            <a:off x="5257807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C459DCD9-870F-1EDF-F19D-842908692306}"/>
              </a:ext>
            </a:extLst>
          </p:cNvPr>
          <p:cNvSpPr txBox="1"/>
          <p:nvPr/>
        </p:nvSpPr>
        <p:spPr>
          <a:xfrm>
            <a:off x="4607587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Attraction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center</a:t>
            </a:r>
            <a:endParaRPr lang="de-DE" dirty="0">
              <a:solidFill>
                <a:srgbClr val="313131"/>
              </a:solidFill>
            </a:endParaRP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21DDC10-97CD-6F9C-2768-0ECE7039EC5D}"/>
              </a:ext>
            </a:extLst>
          </p:cNvPr>
          <p:cNvCxnSpPr>
            <a:cxnSpLocks/>
          </p:cNvCxnSpPr>
          <p:nvPr/>
        </p:nvCxnSpPr>
        <p:spPr>
          <a:xfrm rot="10800000">
            <a:off x="6725047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F2A8D9C3-6CDB-1A36-50C3-A1741DDBDF24}"/>
              </a:ext>
            </a:extLst>
          </p:cNvPr>
          <p:cNvSpPr txBox="1"/>
          <p:nvPr/>
        </p:nvSpPr>
        <p:spPr>
          <a:xfrm>
            <a:off x="6074827" y="3934768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313131"/>
                </a:solidFill>
              </a:rPr>
              <a:t>Repulsion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Shepherd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5B09FBD-89D5-8A89-53C6-21FB725FD5FA}"/>
              </a:ext>
            </a:extLst>
          </p:cNvPr>
          <p:cNvSpPr txBox="1"/>
          <p:nvPr/>
        </p:nvSpPr>
        <p:spPr>
          <a:xfrm>
            <a:off x="2727585" y="4893903"/>
            <a:ext cx="2624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D8390"/>
                </a:solidFill>
              </a:rPr>
              <a:t>Agent-Agent Interactions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59DE5C9E-89A8-C8B6-5BCF-028B72F09842}"/>
              </a:ext>
            </a:extLst>
          </p:cNvPr>
          <p:cNvSpPr txBox="1"/>
          <p:nvPr/>
        </p:nvSpPr>
        <p:spPr>
          <a:xfrm>
            <a:off x="6074827" y="4893903"/>
            <a:ext cx="28732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46A38"/>
                </a:solidFill>
              </a:rPr>
              <a:t>Agent-Shepherd Interac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/>
              <p:nvPr/>
            </p:nvSpPr>
            <p:spPr>
              <a:xfrm>
                <a:off x="1121228" y="5514645"/>
                <a:ext cx="194726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 xmlns:m="http://schemas.openxmlformats.org/officeDocument/2006/math"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de-DE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</m:oMath>
                </a14:m>
                <a:r>
                  <a:rPr lang="de-DE" dirty="0">
                    <a:solidFill>
                      <a:srgbClr val="313131"/>
                    </a:solidFill>
                  </a:rPr>
                  <a:t> are </a:t>
                </a:r>
                <a:r>
                  <a:rPr lang="de-DE" dirty="0" err="1">
                    <a:solidFill>
                      <a:srgbClr val="313131"/>
                    </a:solidFill>
                  </a:rPr>
                  <a:t>weights</a:t>
                </a:r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28" y="5514645"/>
                <a:ext cx="1947264" cy="276999"/>
              </a:xfrm>
              <a:prstGeom prst="rect">
                <a:avLst/>
              </a:prstGeom>
              <a:blipFill>
                <a:blip r:embed="rId5"/>
                <a:stretch>
                  <a:fillRect l="-3135" t="-28889" r="-7210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208108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4" grpId="0"/>
      <p:bldP spid="39" grpId="0"/>
      <p:bldP spid="4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916935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hepherd </a:t>
            </a:r>
            <a:r>
              <a:rPr lang="de-DE" sz="1600" b="1" dirty="0" err="1">
                <a:solidFill>
                  <a:srgbClr val="046A38"/>
                </a:solidFill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56864" y="685274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sz="2800" dirty="0"/>
              <a:t>Model Description – </a:t>
            </a:r>
            <a:r>
              <a:rPr lang="de-DE" sz="2800" dirty="0" err="1"/>
              <a:t>Behaviour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Shepherd</a:t>
            </a:r>
          </a:p>
        </p:txBody>
      </p:sp>
      <p:graphicFrame>
        <p:nvGraphicFramePr>
          <p:cNvPr id="31" name="Diagramm 30">
            <a:extLst>
              <a:ext uri="{FF2B5EF4-FFF2-40B4-BE49-F238E27FC236}">
                <a16:creationId xmlns:a16="http://schemas.microsoft.com/office/drawing/2014/main" id="{79E2F5BB-7DEE-DDE3-64E0-3EA8495E2D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2376448"/>
              </p:ext>
            </p:extLst>
          </p:nvPr>
        </p:nvGraphicFramePr>
        <p:xfrm>
          <a:off x="4880118" y="2023169"/>
          <a:ext cx="6157996" cy="29562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43322946-35CD-0361-3190-CA07411175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80118" y="4841460"/>
            <a:ext cx="5601629" cy="552566"/>
          </a:xfrm>
          <a:prstGeom prst="rect">
            <a:avLst/>
          </a:prstGeom>
        </p:spPr>
      </p:pic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D79201D-EFDE-BCA4-6B55-F22FD3C8DA7C}"/>
              </a:ext>
            </a:extLst>
          </p:cNvPr>
          <p:cNvSpPr/>
          <p:nvPr/>
        </p:nvSpPr>
        <p:spPr bwMode="gray">
          <a:xfrm>
            <a:off x="1012371" y="2096516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>
                <a:solidFill>
                  <a:schemeClr val="bg1"/>
                </a:solidFill>
              </a:rPr>
              <a:t>Goal</a:t>
            </a:r>
          </a:p>
        </p:txBody>
      </p:sp>
      <p:sp>
        <p:nvSpPr>
          <p:cNvPr id="39" name="Pfeil: nach rechts 38">
            <a:extLst>
              <a:ext uri="{FF2B5EF4-FFF2-40B4-BE49-F238E27FC236}">
                <a16:creationId xmlns:a16="http://schemas.microsoft.com/office/drawing/2014/main" id="{EEB9BFC7-5B27-9FD5-0734-20D86F11AF6E}"/>
              </a:ext>
            </a:extLst>
          </p:cNvPr>
          <p:cNvSpPr/>
          <p:nvPr/>
        </p:nvSpPr>
        <p:spPr bwMode="gray">
          <a:xfrm>
            <a:off x="1012371" y="3501302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Condition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1C6122EE-11D0-BD89-349D-9B7245D338E6}"/>
              </a:ext>
            </a:extLst>
          </p:cNvPr>
          <p:cNvSpPr/>
          <p:nvPr/>
        </p:nvSpPr>
        <p:spPr bwMode="gray">
          <a:xfrm>
            <a:off x="1012371" y="4906088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Objective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Function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F36ABF0-8C14-E8DD-E350-1EB2DA3F2DBC}"/>
              </a:ext>
            </a:extLst>
          </p:cNvPr>
          <p:cNvSpPr/>
          <p:nvPr/>
        </p:nvSpPr>
        <p:spPr bwMode="gray">
          <a:xfrm>
            <a:off x="5000328" y="3548742"/>
            <a:ext cx="1534886" cy="84546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403614F-4A78-24EB-B07B-C857ECA79B0D}"/>
              </a:ext>
            </a:extLst>
          </p:cNvPr>
          <p:cNvSpPr/>
          <p:nvPr/>
        </p:nvSpPr>
        <p:spPr bwMode="gray">
          <a:xfrm>
            <a:off x="6008914" y="4906087"/>
            <a:ext cx="1328057" cy="48793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E6F99B7-A3D1-E830-EC06-6147F3A6275E}"/>
              </a:ext>
            </a:extLst>
          </p:cNvPr>
          <p:cNvSpPr/>
          <p:nvPr/>
        </p:nvSpPr>
        <p:spPr bwMode="gray">
          <a:xfrm>
            <a:off x="7191673" y="3548742"/>
            <a:ext cx="1534886" cy="84546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359745C-4FE4-BC79-1EFD-8FD065AFDAEC}"/>
              </a:ext>
            </a:extLst>
          </p:cNvPr>
          <p:cNvSpPr/>
          <p:nvPr/>
        </p:nvSpPr>
        <p:spPr bwMode="gray">
          <a:xfrm>
            <a:off x="7565572" y="4906087"/>
            <a:ext cx="1160988" cy="48793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39BC81F-3A2B-8F1E-1DA5-C43C9B448FDC}"/>
              </a:ext>
            </a:extLst>
          </p:cNvPr>
          <p:cNvSpPr/>
          <p:nvPr/>
        </p:nvSpPr>
        <p:spPr bwMode="gray">
          <a:xfrm>
            <a:off x="8904514" y="4906087"/>
            <a:ext cx="1596255" cy="487939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232437A-4C9C-BEFF-089A-CF797924E7E9}"/>
              </a:ext>
            </a:extLst>
          </p:cNvPr>
          <p:cNvSpPr/>
          <p:nvPr/>
        </p:nvSpPr>
        <p:spPr bwMode="gray">
          <a:xfrm>
            <a:off x="9166312" y="3548742"/>
            <a:ext cx="2043776" cy="973280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/>
              <p:nvPr/>
            </p:nvSpPr>
            <p:spPr>
              <a:xfrm>
                <a:off x="5000328" y="5721534"/>
                <a:ext cx="272593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 xmlns:m="http://schemas.openxmlformats.org/officeDocument/2006/math"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𝑊</m:t>
                    </m:r>
                    <m:r>
                      <m:rPr>
                        <m:nor/>
                      </m:rPr>
                      <a:rPr lang="de-DE" b="0" i="0" baseline="-25000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mean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𝑊</m:t>
                    </m:r>
                    <m:r>
                      <m:rPr>
                        <m:nor/>
                      </m:rPr>
                      <a:rPr lang="de-DE" i="0" baseline="-25000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std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b="0" i="1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𝑊</m:t>
                    </m:r>
                    <m:r>
                      <m:rPr>
                        <m:nor/>
                      </m:rPr>
                      <a:rPr lang="de-DE" i="0" baseline="-25000" dirty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col</m:t>
                    </m:r>
                  </m:oMath>
                </a14:m>
                <a:r>
                  <a:rPr lang="de-DE" dirty="0">
                    <a:solidFill>
                      <a:srgbClr val="313131"/>
                    </a:solidFill>
                  </a:rPr>
                  <a:t> </a:t>
                </a:r>
                <a:r>
                  <a:rPr lang="de-DE" i="0" dirty="0">
                    <a:solidFill>
                      <a:srgbClr val="313131"/>
                    </a:solidFill>
                    <a:latin typeface="+mj-lt"/>
                    <a:ea typeface="Cambria Math" panose="02040503050406030204" pitchFamily="18" charset="0"/>
                  </a:rPr>
                  <a:t>are weights</a:t>
                </a:r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0328" y="5721534"/>
                <a:ext cx="2725939" cy="276999"/>
              </a:xfrm>
              <a:prstGeom prst="rect">
                <a:avLst/>
              </a:prstGeom>
              <a:blipFill>
                <a:blip r:embed="rId10"/>
                <a:stretch>
                  <a:fillRect l="-2908" t="-28889" r="-4922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551286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4" grpId="0" animBg="1"/>
      <p:bldP spid="56" grpId="0" animBg="1"/>
      <p:bldP spid="57" grpId="0" animBg="1"/>
      <p:bldP spid="5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genda</a:t>
            </a:r>
            <a:br>
              <a:rPr lang="de-DE" sz="2800" dirty="0"/>
            </a:br>
            <a:endParaRPr lang="de-DE" sz="2800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3808036"/>
            <a:ext cx="2160000" cy="3560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147023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DBID" val=""/>
  <p:tag name="MIO_LASTDOWNLOADED" val="01.01.0001 00:00:00.000"/>
  <p:tag name="MIO_FALLBACK_LAYOUT" val="32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5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2"/>
  <p:tag name="MIO_SHOW_DATE" val="False"/>
  <p:tag name="MIO_SHOW_FOOTER" val="False"/>
  <p:tag name="MIO_SHOW_PAGENUMBER" val="True"/>
  <p:tag name="MIO_AVOID_BLANK_LAYOUT" val="False"/>
  <p:tag name="MIO_CD_LAYOUT_VALID_AREA" val="False"/>
  <p:tag name="MIO_NUMBER_OF_VALID_LAYOUTS" val="49"/>
  <p:tag name="MIO_HDS" val="True"/>
  <p:tag name="MIO_SKIPVERSION" val="01.01.0001 00:00:00"/>
  <p:tag name="MIO_EKGUID" val="15e6b1f2-4f4a-4ffc-adb1-bb269b750cdb"/>
  <p:tag name="MIO_UPDATE" val="True"/>
  <p:tag name="MIO_VERSION" val="19.03.2021 10:24:30"/>
  <p:tag name="MIO_DBID" val="fede6900-895c-4459-b97c-72b2b9dac459"/>
  <p:tag name="MIO_LASTDOWNLOADED" val="19.03.2021 11:32:18.789"/>
  <p:tag name="MIO_OBJECTNAME" val="Deloitte 16:9 (2021)"/>
  <p:tag name="MIO_CDID" val="b832c4bc-5070-4232-bfdb-3d42c9da7c2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9</Words>
  <Application>Microsoft Office PowerPoint</Application>
  <PresentationFormat>Breitbild</PresentationFormat>
  <Paragraphs>247</Paragraphs>
  <Slides>27</Slides>
  <Notes>20</Notes>
  <HiddenSlides>3</HiddenSlides>
  <MMClips>5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8" baseType="lpstr">
      <vt:lpstr>-apple-system</vt:lpstr>
      <vt:lpstr>Arial</vt:lpstr>
      <vt:lpstr>Calibri</vt:lpstr>
      <vt:lpstr>Calibri Light</vt:lpstr>
      <vt:lpstr>Cambria Math</vt:lpstr>
      <vt:lpstr>Google Sans</vt:lpstr>
      <vt:lpstr>Verdana</vt:lpstr>
      <vt:lpstr>Wingdings 2</vt:lpstr>
      <vt:lpstr>Office</vt:lpstr>
      <vt:lpstr>Deloitte Brand Theme</vt:lpstr>
      <vt:lpstr>think-cell Slide</vt:lpstr>
      <vt:lpstr>PowerPoint-Präsentation</vt:lpstr>
      <vt:lpstr>Agenda </vt:lpstr>
      <vt:lpstr>Introduction: Shepherding Problem</vt:lpstr>
      <vt:lpstr>Introduction: Shepherding Problem</vt:lpstr>
      <vt:lpstr>Overview </vt:lpstr>
      <vt:lpstr>Model Description </vt:lpstr>
      <vt:lpstr>Model Description – Behaviour of Agents</vt:lpstr>
      <vt:lpstr>Model Description – Behaviour of Shepherd</vt:lpstr>
      <vt:lpstr>Agenda </vt:lpstr>
      <vt:lpstr>Findings </vt:lpstr>
      <vt:lpstr>Video: Droving </vt:lpstr>
      <vt:lpstr>Video: Mustering </vt:lpstr>
      <vt:lpstr>Video: Driving </vt:lpstr>
      <vt:lpstr>Overview </vt:lpstr>
      <vt:lpstr>Model Extensions</vt:lpstr>
      <vt:lpstr>Overview </vt:lpstr>
      <vt:lpstr>Results </vt:lpstr>
      <vt:lpstr>Results </vt:lpstr>
      <vt:lpstr>Video: Two Shepherds </vt:lpstr>
      <vt:lpstr>Video: Three Shepherds </vt:lpstr>
      <vt:lpstr>Results: Comparison of Timesteps needed</vt:lpstr>
      <vt:lpstr>Results: Benchmark Model</vt:lpstr>
      <vt:lpstr>Wrap up!</vt:lpstr>
      <vt:lpstr>Wrap up!</vt:lpstr>
      <vt:lpstr>Wrap up!</vt:lpstr>
      <vt:lpstr>Outlook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ective Behavior  Optimal Shephearding  </dc:title>
  <dc:creator>Franz Muszarsky</dc:creator>
  <cp:lastModifiedBy>Franziska Weber</cp:lastModifiedBy>
  <cp:revision>10</cp:revision>
  <dcterms:created xsi:type="dcterms:W3CDTF">2024-01-03T20:27:13Z</dcterms:created>
  <dcterms:modified xsi:type="dcterms:W3CDTF">2024-01-15T10:19:58Z</dcterms:modified>
</cp:coreProperties>
</file>